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1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1"/>
    <p:sldMasterId id="2147484533" r:id="rId2"/>
  </p:sldMasterIdLst>
  <p:notesMasterIdLst>
    <p:notesMasterId r:id="rId19"/>
  </p:notesMasterIdLst>
  <p:handoutMasterIdLst>
    <p:handoutMasterId r:id="rId20"/>
  </p:handoutMasterIdLst>
  <p:sldIdLst>
    <p:sldId id="256" r:id="rId3"/>
    <p:sldId id="315" r:id="rId4"/>
    <p:sldId id="351" r:id="rId5"/>
    <p:sldId id="360" r:id="rId6"/>
    <p:sldId id="362" r:id="rId7"/>
    <p:sldId id="308" r:id="rId8"/>
    <p:sldId id="347" r:id="rId9"/>
    <p:sldId id="349" r:id="rId10"/>
    <p:sldId id="312" r:id="rId11"/>
    <p:sldId id="355" r:id="rId12"/>
    <p:sldId id="356" r:id="rId13"/>
    <p:sldId id="353" r:id="rId14"/>
    <p:sldId id="354" r:id="rId15"/>
    <p:sldId id="357" r:id="rId16"/>
    <p:sldId id="358" r:id="rId17"/>
    <p:sldId id="359" r:id="rId18"/>
  </p:sldIdLst>
  <p:sldSz cx="9144000" cy="6858000" type="screen4x3"/>
  <p:notesSz cx="6858000" cy="9926638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ma Muslibegović" initials="AM" lastIdx="4" clrIdx="0">
    <p:extLst>
      <p:ext uri="{19B8F6BF-5375-455C-9EA6-DF929625EA0E}">
        <p15:presenceInfo xmlns:p15="http://schemas.microsoft.com/office/powerpoint/2012/main" xmlns="" userId="S-1-5-21-1973834663-436621203-1861840742-3426" providerId="AD"/>
      </p:ext>
    </p:extLst>
  </p:cmAuthor>
  <p:cmAuthor id="2" name="Valentina Nešić" initials="VN" lastIdx="1" clrIdx="1">
    <p:extLst>
      <p:ext uri="{19B8F6BF-5375-455C-9EA6-DF929625EA0E}">
        <p15:presenceInfo xmlns:p15="http://schemas.microsoft.com/office/powerpoint/2012/main" xmlns="" userId="S-1-5-21-1973834663-436621203-1861840742-1762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1F497D"/>
    <a:srgbClr val="0041C4"/>
    <a:srgbClr val="003296"/>
    <a:srgbClr val="003399"/>
    <a:srgbClr val="002060"/>
    <a:srgbClr val="254061"/>
    <a:srgbClr val="EEE6E1"/>
    <a:srgbClr val="CC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6695" autoAdjust="0"/>
    <p:restoredTop sz="99856" autoAdjust="0"/>
  </p:normalViewPr>
  <p:slideViewPr>
    <p:cSldViewPr>
      <p:cViewPr varScale="1">
        <p:scale>
          <a:sx n="91" d="100"/>
          <a:sy n="91" d="100"/>
        </p:scale>
        <p:origin x="-1356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148" y="-90"/>
      </p:cViewPr>
      <p:guideLst>
        <p:guide orient="horz" pos="3127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.xlsx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E38-4BB4-9FB4-8E5D85EFCB37}"/>
              </c:ext>
            </c:extLst>
          </c:dPt>
          <c:dPt>
            <c:idx val="1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E38-4BB4-9FB4-8E5D85EFCB37}"/>
              </c:ext>
            </c:extLst>
          </c:dPt>
          <c:dLbls>
            <c:dLbl>
              <c:idx val="0"/>
              <c:layout>
                <c:manualLayout>
                  <c:x val="-2.3031277340332459E-2"/>
                  <c:y val="9.259241032370954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sr-Cyrl-RS" dirty="0" smtClean="0"/>
                      <a:t>ТЕРМО </a:t>
                    </a:r>
                    <a:r>
                      <a:rPr lang="sr-Cyrl-RS" dirty="0"/>
                      <a:t>СЕКТОР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E38-4BB4-9FB4-8E5D85EFCB37}"/>
                </c:ext>
                <c:ext xmlns:c15="http://schemas.microsoft.com/office/drawing/2012/chart" uri="{CE6537A1-D6FC-4f65-9D91-7224C49458BB}">
                  <c15:layout>
                    <c:manualLayout>
                      <c:w val="0.39553849518810152"/>
                      <c:h val="0.16421296296296295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6.2500000000000014E-2"/>
                  <c:y val="-2.314796587926509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sr-Cyrl-RS" dirty="0" smtClean="0"/>
                      <a:t>ХИДРО </a:t>
                    </a:r>
                    <a:r>
                      <a:rPr lang="sr-Cyrl-RS" dirty="0"/>
                      <a:t>СЕКТОР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E38-4BB4-9FB4-8E5D85EFCB37}"/>
                </c:ext>
                <c:ext xmlns:c15="http://schemas.microsoft.com/office/drawing/2012/chart" uri="{CE6537A1-D6FC-4f65-9D91-7224C49458BB}">
                  <c15:layout>
                    <c:manualLayout>
                      <c:w val="0.29520844269466318"/>
                      <c:h val="0.16421296296296295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CatName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(Sheet1!$A$18,Sheet1!$A$23)</c:f>
              <c:strCache>
                <c:ptCount val="2"/>
                <c:pt idx="0">
                  <c:v>UKUPNO TERMO SEKTOR</c:v>
                </c:pt>
                <c:pt idx="1">
                  <c:v>UKUPNO HIDRO SEKTOR</c:v>
                </c:pt>
              </c:strCache>
            </c:strRef>
          </c:cat>
          <c:val>
            <c:numRef>
              <c:f>(Sheet1!$B$18,Sheet1!$B$23)</c:f>
              <c:numCache>
                <c:formatCode>_(* #,##0_);_(* \(#,##0\);_(* "-"_);_(@_)</c:formatCode>
                <c:ptCount val="2"/>
                <c:pt idx="0">
                  <c:v>1037467500</c:v>
                </c:pt>
                <c:pt idx="1">
                  <c:v>37640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E38-4BB4-9FB4-8E5D85EFCB37}"/>
            </c:ext>
          </c:extLst>
        </c:ser>
        <c:dLbls>
          <c:showCatName val="1"/>
        </c:dLbls>
      </c:pie3D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sr-Cyrl-R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евитализација у </a:t>
            </a:r>
            <a:r>
              <a:rPr lang="sr-Cyrl-RS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ермо</a:t>
            </a:r>
            <a:r>
              <a:rPr lang="sr-Cyrl-R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сектору</a:t>
            </a:r>
            <a:endParaRPr lang="en-US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sr-Cyrl-RS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ећање</a:t>
            </a:r>
            <a:r>
              <a:rPr lang="sr-Cyrl-RS" sz="1800" baseline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наге</a:t>
            </a:r>
            <a:endParaRPr lang="en-US" sz="1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6814872906862557"/>
          <c:y val="0"/>
        </c:manualLayout>
      </c:layout>
      <c:spPr>
        <a:noFill/>
        <a:ln>
          <a:noFill/>
        </a:ln>
        <a:effectLst/>
      </c:spPr>
    </c:title>
    <c:view3D>
      <c:depthPercent val="100"/>
      <c:rAngAx val="1"/>
    </c:view3D>
    <c:floor>
      <c:spPr>
        <a:noFill/>
        <a:ln w="9525" cap="flat" cmpd="sng" algn="ctr">
          <a:noFill/>
          <a:prstDash val="solid"/>
          <a:round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0268635289065259E-2"/>
          <c:y val="0.16300024606299218"/>
          <c:w val="0.91357277879877508"/>
          <c:h val="0.75979109251968535"/>
        </c:manualLayout>
      </c:layout>
      <c:bar3DChart>
        <c:barDir val="col"/>
        <c:grouping val="stacked"/>
        <c:ser>
          <c:idx val="1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dLbls>
            <c:delete val="1"/>
          </c:dLbls>
          <c:val>
            <c:numRef>
              <c:f>Sheet1!$B$5:$B$7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91-4BDE-8DC9-1A17D753161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dLbls>
            <c:dLbl>
              <c:idx val="0"/>
              <c:layout/>
              <c:tx>
                <c:rich>
                  <a:bodyPr/>
                  <a:lstStyle/>
                  <a:p>
                    <a:fld id="{4B1D38E7-F676-408A-8189-B74B84C57270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9F9-45FB-8EA6-0BAEC1679F3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27935126-744C-40A4-B0F3-58923279708D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9F9-45FB-8EA6-0BAEC1679F33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386E1A4F-9BCC-46A7-86D9-9397F7C51CCD}" type="VALUE">
                      <a:rPr lang="en-US" dirty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9F9-45FB-8EA6-0BAEC1679F33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5:$C$7</c:f>
              <c:numCache>
                <c:formatCode>General</c:formatCode>
                <c:ptCount val="3"/>
                <c:pt idx="0">
                  <c:v>2890</c:v>
                </c:pt>
                <c:pt idx="1">
                  <c:v>3034</c:v>
                </c:pt>
                <c:pt idx="2">
                  <c:v>3069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9F9-45FB-8EA6-0BAEC1679F33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6-29F9-45FB-8EA6-0BAEC1679F33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5-29F9-45FB-8EA6-0BAEC1679F33}"/>
              </c:ext>
            </c:extLst>
          </c:dPt>
          <c:dLbls>
            <c:dLbl>
              <c:idx val="1"/>
              <c:layout>
                <c:manualLayout>
                  <c:x val="0"/>
                  <c:y val="0.05"/>
                </c:manualLayout>
              </c:layout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9F9-45FB-8EA6-0BAEC1679F3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6.3157894736842107E-2"/>
                </c:manualLayout>
              </c:layout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9F9-45FB-8EA6-0BAEC1679F3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5:$D$7</c:f>
              <c:numCache>
                <c:formatCode>General</c:formatCode>
                <c:ptCount val="3"/>
                <c:pt idx="1">
                  <c:v>40</c:v>
                </c:pt>
                <c:pt idx="2">
                  <c:v>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9F9-45FB-8EA6-0BAEC1679F33}"/>
            </c:ext>
          </c:extLst>
        </c:ser>
        <c:dLbls>
          <c:showVal val="1"/>
        </c:dLbls>
        <c:shape val="box"/>
        <c:axId val="74559488"/>
        <c:axId val="74561024"/>
        <c:axId val="0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  <a:sp3d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2">
                                <a:lumMod val="35000"/>
                                <a:lumOff val="65000"/>
                              </a:schemeClr>
                            </a:solidFill>
                            <a:prstDash val="solid"/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0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0-CE91-4BDE-8DC9-1A17D753161A}"/>
                  </c:ext>
                </c:extLst>
              </c15:ser>
            </c15:filteredBarSeries>
          </c:ext>
        </c:extLst>
      </c:bar3DChart>
      <c:catAx>
        <c:axId val="7455948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561024"/>
        <c:crosses val="autoZero"/>
        <c:auto val="1"/>
        <c:lblAlgn val="ctr"/>
        <c:lblOffset val="100"/>
      </c:catAx>
      <c:valAx>
        <c:axId val="74561024"/>
        <c:scaling>
          <c:orientation val="minMax"/>
          <c:min val="0"/>
        </c:scaling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559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sr-Cyrl-RS" dirty="0" smtClean="0"/>
              <a:t>Ревитализација у хидро сектору</a:t>
            </a:r>
            <a:endParaRPr lang="en-US" dirty="0"/>
          </a:p>
        </c:rich>
      </c:tx>
      <c:layout>
        <c:manualLayout>
          <c:xMode val="edge"/>
          <c:yMode val="edge"/>
          <c:x val="0.27445570316390161"/>
          <c:y val="0"/>
        </c:manualLayout>
      </c:layout>
      <c:spPr>
        <a:noFill/>
        <a:ln>
          <a:noFill/>
        </a:ln>
        <a:effectLst/>
      </c:spPr>
    </c:title>
    <c:view3D>
      <c:depthPercent val="100"/>
      <c:rAngAx val="1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0268635289065259E-2"/>
          <c:y val="0.16300024606299218"/>
          <c:w val="0.91357277879877508"/>
          <c:h val="0.75979109251968535"/>
        </c:manualLayout>
      </c:layout>
      <c:bar3DChart>
        <c:barDir val="col"/>
        <c:grouping val="stacked"/>
        <c:ser>
          <c:idx val="1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dLbls>
            <c:delete val="1"/>
          </c:dLbls>
          <c:val>
            <c:numRef>
              <c:f>Sheet1!$B$5:$B$7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91-4BDE-8DC9-1A17D753161A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2831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9F9-45FB-8EA6-0BAEC1679F3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2972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9F9-45FB-8EA6-0BAEC1679F3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3026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9F9-45FB-8EA6-0BAEC1679F3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Sheet1!$C$5:$C$7</c:f>
              <c:numCache>
                <c:formatCode>General</c:formatCode>
                <c:ptCount val="3"/>
                <c:pt idx="0">
                  <c:v>2831</c:v>
                </c:pt>
                <c:pt idx="1">
                  <c:v>2972</c:v>
                </c:pt>
                <c:pt idx="2">
                  <c:v>30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9F9-45FB-8EA6-0BAEC1679F33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dPt>
            <c:idx val="1"/>
            <c:spPr>
              <a:gradFill rotWithShape="1">
                <a:gsLst>
                  <a:gs pos="100000">
                    <a:schemeClr val="accent3"/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29F9-45FB-8EA6-0BAEC1679F33}"/>
              </c:ext>
            </c:extLst>
          </c:dPt>
          <c:dPt>
            <c:idx val="2"/>
            <c:spPr>
              <a:gradFill rotWithShape="1">
                <a:gsLst>
                  <a:gs pos="100000">
                    <a:schemeClr val="accent3"/>
                  </a:gs>
                  <a:gs pos="100000">
                    <a:schemeClr val="accent3"/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9F9-45FB-8EA6-0BAEC1679F33}"/>
              </c:ext>
            </c:extLst>
          </c:dPt>
          <c:dLbls>
            <c:dLbl>
              <c:idx val="1"/>
              <c:layout>
                <c:manualLayout>
                  <c:x val="0"/>
                  <c:y val="0.0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1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9F9-45FB-8EA6-0BAEC1679F3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6.315789473684210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95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9F9-45FB-8EA6-0BAEC1679F3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Sheet1!$D$5:$D$7</c:f>
              <c:numCache>
                <c:formatCode>General</c:formatCode>
                <c:ptCount val="3"/>
                <c:pt idx="1">
                  <c:v>141</c:v>
                </c:pt>
                <c:pt idx="2">
                  <c:v>1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9F9-45FB-8EA6-0BAEC1679F33}"/>
            </c:ext>
          </c:extLst>
        </c:ser>
        <c:dLbls>
          <c:showVal val="1"/>
        </c:dLbls>
        <c:shape val="box"/>
        <c:axId val="76364032"/>
        <c:axId val="76398592"/>
        <c:axId val="0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Sheet1!$A$1</c15:sqref>
                        </c15:formulaRef>
                      </c:ext>
                    </c:extLst>
                    <c:strCache>
                      <c:ptCount val="1"/>
                      <c:pt idx="0">
                        <c:v> </c:v>
                      </c:pt>
                    </c:strCache>
                  </c:strRef>
                </c:tx>
                <c:spPr>
                  <a:gradFill rotWithShape="1">
                    <a:gsLst>
                      <a:gs pos="0">
                        <a:schemeClr val="accent1">
                          <a:shade val="51000"/>
                          <a:satMod val="130000"/>
                        </a:schemeClr>
                      </a:gs>
                      <a:gs pos="80000">
                        <a:schemeClr val="accent1">
                          <a:shade val="93000"/>
                          <a:satMod val="130000"/>
                        </a:schemeClr>
                      </a:gs>
                      <a:gs pos="100000">
                        <a:schemeClr val="accent1">
                          <a:shade val="94000"/>
                          <a:satMod val="135000"/>
                        </a:schemeClr>
                      </a:gs>
                    </a:gsLst>
                    <a:lin ang="16200000" scaled="0"/>
                  </a:gradFill>
                  <a:ln>
                    <a:noFill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  <a:sp3d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2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0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0-CE91-4BDE-8DC9-1A17D753161A}"/>
                  </c:ext>
                </c:extLst>
              </c15:ser>
            </c15:filteredBarSeries>
          </c:ext>
        </c:extLst>
      </c:bar3DChart>
      <c:catAx>
        <c:axId val="7636403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398592"/>
        <c:crosses val="autoZero"/>
        <c:auto val="1"/>
        <c:lblAlgn val="ctr"/>
        <c:lblOffset val="100"/>
      </c:catAx>
      <c:valAx>
        <c:axId val="76398592"/>
        <c:scaling>
          <c:orientation val="minMax"/>
          <c:min val="0"/>
        </c:scaling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364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136</cdr:x>
      <cdr:y>0.19091</cdr:y>
    </cdr:from>
    <cdr:to>
      <cdr:x>0.66755</cdr:x>
      <cdr:y>0.25468</cdr:y>
    </cdr:to>
    <cdr:sp macro="" textlink="">
      <cdr:nvSpPr>
        <cdr:cNvPr id="2" name="TextBox 19"/>
        <cdr:cNvSpPr txBox="1"/>
      </cdr:nvSpPr>
      <cdr:spPr>
        <a:xfrm xmlns:a="http://schemas.openxmlformats.org/drawingml/2006/main">
          <a:off x="3661501" y="921316"/>
          <a:ext cx="1524005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1pPr>
          <a:lvl2pPr marL="4572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2pPr>
          <a:lvl3pPr marL="9144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3pPr>
          <a:lvl4pPr marL="13716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4pPr>
          <a:lvl5pPr marL="18288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sr-Cyrl-R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*сада</a:t>
          </a:r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1854</cdr:x>
      <cdr:y>0.16413</cdr:y>
    </cdr:from>
    <cdr:to>
      <cdr:x>0.07416</cdr:x>
      <cdr:y>0.2238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44016" y="792088"/>
          <a:ext cx="43204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r-Latn-RS" sz="11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MW</a:t>
          </a:r>
          <a:endParaRPr lang="sr-Latn-RS" sz="11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7136</cdr:x>
      <cdr:y>0.19091</cdr:y>
    </cdr:from>
    <cdr:to>
      <cdr:x>0.66755</cdr:x>
      <cdr:y>0.25468</cdr:y>
    </cdr:to>
    <cdr:sp macro="" textlink="">
      <cdr:nvSpPr>
        <cdr:cNvPr id="2" name="TextBox 19"/>
        <cdr:cNvSpPr txBox="1"/>
      </cdr:nvSpPr>
      <cdr:spPr>
        <a:xfrm xmlns:a="http://schemas.openxmlformats.org/drawingml/2006/main">
          <a:off x="3661501" y="921316"/>
          <a:ext cx="1524005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1pPr>
          <a:lvl2pPr marL="4572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2pPr>
          <a:lvl3pPr marL="9144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3pPr>
          <a:lvl4pPr marL="13716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4pPr>
          <a:lvl5pPr marL="1828800" algn="l" defTabSz="457200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sr-Cyrl-R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*сада</a:t>
          </a:r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421" cy="4965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7" y="1"/>
            <a:ext cx="2972421" cy="4965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699E346-37D4-417C-8F0B-644E46DE0CEC}" type="datetime1">
              <a:rPr lang="en-US"/>
              <a:pPr>
                <a:defRPr/>
              </a:pPr>
              <a:t>10/27/2019</a:t>
            </a:fld>
            <a:endParaRPr 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430"/>
            <a:ext cx="2972421" cy="4965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7" y="9428430"/>
            <a:ext cx="2972421" cy="49650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C9F630CE-186A-423F-BF99-631CEB24CEEF}" type="slidenum">
              <a:rPr lang="sr-Latn-RS" altLang="en-US"/>
              <a:pPr/>
              <a:t>‹#›</a:t>
            </a:fld>
            <a:endParaRPr lang="sr-Latn-RS" altLang="en-US"/>
          </a:p>
        </p:txBody>
      </p:sp>
    </p:spTree>
    <p:extLst>
      <p:ext uri="{BB962C8B-B14F-4D97-AF65-F5344CB8AC3E}">
        <p14:creationId xmlns:p14="http://schemas.microsoft.com/office/powerpoint/2010/main" xmlns="" val="50272385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421" cy="4965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7" y="1"/>
            <a:ext cx="2972421" cy="4965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6AEDD8A-F4E7-45B2-A2DA-D4289600C149}" type="datetime1">
              <a:rPr lang="en-US"/>
              <a:pPr>
                <a:defRPr/>
              </a:pPr>
              <a:t>10/2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9325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1" y="4715922"/>
            <a:ext cx="5486711" cy="44668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430"/>
            <a:ext cx="2972421" cy="4965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7" y="9428430"/>
            <a:ext cx="2972421" cy="49650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CB3668DB-F2E9-4E6A-B2BD-B7AB740251A5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8314343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CS" altLang="sr-Latn-RS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A287C0E-A187-41E6-A845-0E4BA1983768}" type="slidenum">
              <a:rPr lang="sr-Latn-CS" altLang="sr-Latn-RS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sr-Latn-CS" altLang="sr-Latn-RS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033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19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x-none" sz="1600" dirty="0" smtClean="0"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0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88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6" y="6093296"/>
            <a:ext cx="3384154" cy="4830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27981673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F4735F2A-82B9-4375-82E9-610F063BFCF4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89704308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F860B07-91A5-421C-AACB-14E62819A4E3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5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428675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15CADB74-438F-48DE-98F2-19E210B6474D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30371392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0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A960534-11EF-424A-B7D9-0069D2958F50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6632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2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1150350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9E5A2-FEE5-4C88-A689-A60E336E3669}" type="datetimeFigureOut">
              <a:rPr lang="en-US" smtClean="0"/>
              <a:pPr/>
              <a:t>10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3965F-A261-4AD4-9DF4-C67451B2E6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036697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9393" name="think-cell Slide" r:id="rId4" imgW="270" imgH="270" progId="">
              <p:embed/>
            </p:oleObj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14350" y="3883819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0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88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6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1344929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0417" name="think-cell Slide" r:id="rId4" imgW="270" imgH="270" progId="">
              <p:embed/>
            </p:oleObj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17B38BD-DB68-425A-8E88-AF0A7EA32AD7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97513061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1441" name="think-cell Slide" r:id="rId4" imgW="270" imgH="270" progId="">
              <p:embed/>
            </p:oleObj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8AE51A0-3DC4-45E1-9822-132C7706597C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46334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465" name="think-cell Slide" r:id="rId4" imgW="270" imgH="270" progId="">
              <p:embed/>
            </p:oleObj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02600" y="117475"/>
            <a:ext cx="1006475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ЗА ДИСКУСИЈУ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581C9571-50CB-487E-91B3-D084C021E1A0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6538046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3489" name="think-cell Slide" r:id="rId4" imgW="270" imgH="270" progId="">
              <p:embed/>
            </p:oleObj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0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3555328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824F74D-41A6-4D90-885D-C3CE38E5A6FC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67692258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4513" name="think-cell Slide" r:id="rId4" imgW="270" imgH="270" progId="">
              <p:embed/>
            </p:oleObj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92344098-D8B9-4F79-9508-21FEE646BB11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35725047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5537" name="think-cell Slide" r:id="rId4" imgW="270" imgH="270" progId="">
              <p:embed/>
            </p:oleObj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8D37ACA0-009A-4F14-B8B4-968614926285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53719167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6561" name="think-cell Slide" r:id="rId4" imgW="270" imgH="270" progId="">
              <p:embed/>
            </p:oleObj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C15FB30-F6B1-47F1-9F5B-9D68B3144D1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80573912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7585" name="think-cell Slide" r:id="rId4" imgW="270" imgH="270" progId="">
              <p:embed/>
            </p:oleObj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134FAA01-C589-4FBE-9CBB-362084A3DE22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16606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8609" name="think-cell Slide" r:id="rId4" imgW="270" imgH="270" progId="">
              <p:embed/>
            </p:oleObj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991A521F-B250-4045-93F6-FCCD1C0C8BB9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91795313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9633" name="think-cell Slide" r:id="rId4" imgW="270" imgH="270" progId="">
              <p:embed/>
            </p:oleObj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68A53E7-E1A8-4F8C-949C-F149812727F2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5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81810732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0657" name="think-cell Slide" r:id="rId4" imgW="270" imgH="270" progId="">
              <p:embed/>
            </p:oleObj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B30E6A7-C393-4DEC-8022-E0F0D63F451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46239307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1681" name="think-cell Slide" r:id="rId4" imgW="270" imgH="270" progId="">
              <p:embed/>
            </p:oleObj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229600" y="0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dirty="0">
              <a:solidFill>
                <a:prstClr val="white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0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097CE8E5-78D9-45E1-84D9-01F103658418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6632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2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94924565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1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1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1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1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1DE5ED04-3E36-4AF4-920E-E43B07595B94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9261759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0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en-U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ZA DISKUSIJU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6468664B-B766-4421-861F-4129B476D452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1897561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0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21872420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C170FCC-E929-4159-822A-472F8505343F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6956726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7C555E1-5B6A-49D9-8948-20E21FC2CAFF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50385341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/>
            <a:p>
              <a:pPr algn="ctr" defTabSz="881063" eaLnBrk="0" hangingPunct="0">
                <a:spcBef>
                  <a:spcPct val="50000"/>
                </a:spcBef>
                <a:defRPr/>
              </a:pPr>
              <a:r>
                <a:rPr lang="sr-Cyrl-RS" altLang="zh-CN" sz="10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10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9C24D504-F41D-4B7D-BD54-BAE9881CBB0F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51024574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8604250" y="6448425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9575FC6-E344-440E-8EB3-CABAE3861492}" type="slidenum">
              <a:rPr lang="en-US" altLang="en-US" sz="14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400" b="1" dirty="0">
              <a:solidFill>
                <a:srgbClr val="003296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13" y="6237288"/>
            <a:ext cx="465137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41618482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96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61" r:id="rId1"/>
    <p:sldLayoutId id="2147485562" r:id="rId2"/>
    <p:sldLayoutId id="2147485563" r:id="rId3"/>
    <p:sldLayoutId id="2147485564" r:id="rId4"/>
    <p:sldLayoutId id="2147485565" r:id="rId5"/>
    <p:sldLayoutId id="2147485566" r:id="rId6"/>
    <p:sldLayoutId id="2147485567" r:id="rId7"/>
    <p:sldLayoutId id="2147485568" r:id="rId8"/>
    <p:sldLayoutId id="2147485569" r:id="rId9"/>
    <p:sldLayoutId id="2147485570" r:id="rId10"/>
    <p:sldLayoutId id="2147485571" r:id="rId11"/>
    <p:sldLayoutId id="2147485572" r:id="rId12"/>
    <p:sldLayoutId id="2147485573" r:id="rId13"/>
    <p:sldLayoutId id="2147485587" r:id="rId14"/>
  </p:sldLayoutIdLst>
  <p:transition spd="med">
    <p:fad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xmlns="" val="2497084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3" name="think-cell Slide" r:id="rId17" imgW="270" imgH="270" progId="">
              <p:embed/>
            </p:oleObj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74" r:id="rId1"/>
    <p:sldLayoutId id="2147485575" r:id="rId2"/>
    <p:sldLayoutId id="2147485576" r:id="rId3"/>
    <p:sldLayoutId id="2147485577" r:id="rId4"/>
    <p:sldLayoutId id="2147485578" r:id="rId5"/>
    <p:sldLayoutId id="2147485579" r:id="rId6"/>
    <p:sldLayoutId id="2147485580" r:id="rId7"/>
    <p:sldLayoutId id="2147485581" r:id="rId8"/>
    <p:sldLayoutId id="2147485582" r:id="rId9"/>
    <p:sldLayoutId id="2147485583" r:id="rId10"/>
    <p:sldLayoutId id="2147485584" r:id="rId11"/>
    <p:sldLayoutId id="2147485585" r:id="rId12"/>
    <p:sldLayoutId id="2147485586" r:id="rId13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Relationship Id="rId9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4.jpeg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ctrTitle"/>
          </p:nvPr>
        </p:nvSpPr>
        <p:spPr>
          <a:xfrm>
            <a:off x="3522481" y="1772816"/>
            <a:ext cx="6858000" cy="2387600"/>
          </a:xfrm>
        </p:spPr>
        <p:txBody>
          <a:bodyPr>
            <a:normAutofit/>
          </a:bodyPr>
          <a:lstStyle/>
          <a:p>
            <a:pPr algn="l" eaLnBrk="1" hangingPunct="1"/>
            <a:r>
              <a:rPr lang="sr-Cyrl-RS" altLang="en-US" sz="5400" b="1" dirty="0" smtClean="0">
                <a:solidFill>
                  <a:srgbClr val="002060"/>
                </a:solidFill>
              </a:rPr>
              <a:t>ПРОИЗВОДЊА</a:t>
            </a:r>
            <a:r>
              <a:rPr lang="en-US" altLang="en-US" sz="5400" b="1" dirty="0" smtClean="0">
                <a:solidFill>
                  <a:srgbClr val="002060"/>
                </a:solidFill>
              </a:rPr>
              <a:t> </a:t>
            </a:r>
            <a:br>
              <a:rPr lang="en-US" altLang="en-US" sz="5400" b="1" dirty="0" smtClean="0">
                <a:solidFill>
                  <a:srgbClr val="002060"/>
                </a:solidFill>
              </a:rPr>
            </a:br>
            <a:r>
              <a:rPr lang="sr-Cyrl-RS" altLang="en-US" sz="5400" b="1" dirty="0" smtClean="0">
                <a:solidFill>
                  <a:srgbClr val="002060"/>
                </a:solidFill>
              </a:rPr>
              <a:t>ЕНЕРГИЈЕ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t="4727" b="4796"/>
          <a:stretch/>
        </p:blipFill>
        <p:spPr>
          <a:xfrm>
            <a:off x="0" y="-8977"/>
            <a:ext cx="3444645" cy="223224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02472" y="4511860"/>
            <a:ext cx="3547117" cy="23883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437" t="6886"/>
          <a:stretch/>
        </p:blipFill>
        <p:spPr>
          <a:xfrm>
            <a:off x="-36512" y="2217191"/>
            <a:ext cx="3481157" cy="22946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44645" y="4511860"/>
            <a:ext cx="3506836" cy="23461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36768" b="-2114"/>
          <a:stretch/>
        </p:blipFill>
        <p:spPr>
          <a:xfrm>
            <a:off x="6951481" y="4514717"/>
            <a:ext cx="2229031" cy="24109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5964" r="1025" b="30088"/>
          <a:stretch/>
        </p:blipFill>
        <p:spPr>
          <a:xfrm>
            <a:off x="3443790" y="-9085"/>
            <a:ext cx="5736722" cy="2244575"/>
          </a:xfrm>
          <a:prstGeom prst="rect">
            <a:avLst/>
          </a:prstGeom>
        </p:spPr>
      </p:pic>
      <p:graphicFrame>
        <p:nvGraphicFramePr>
          <p:cNvPr id="16" name="Object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725617177"/>
              </p:ext>
            </p:extLst>
          </p:nvPr>
        </p:nvGraphicFramePr>
        <p:xfrm>
          <a:off x="7740352" y="3434438"/>
          <a:ext cx="1022350" cy="901700"/>
        </p:xfrm>
        <a:graphic>
          <a:graphicData uri="http://schemas.openxmlformats.org/presentationml/2006/ole">
            <p:oleObj spid="_x0000_s104464" name="CorelDRAW" r:id="rId9" imgW="2898648" imgH="2560320" progId="">
              <p:embed/>
            </p:oleObj>
          </a:graphicData>
        </a:graphic>
      </p:graphicFrame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xmlns="" val="165695614"/>
              </p:ext>
            </p:extLst>
          </p:nvPr>
        </p:nvGraphicFramePr>
        <p:xfrm>
          <a:off x="755576" y="1196752"/>
          <a:ext cx="7768004" cy="482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2195736" y="1885574"/>
            <a:ext cx="15279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пре ревитализације</a:t>
            </a: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12160" y="2101017"/>
            <a:ext cx="14520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до 2024. год.</a:t>
            </a: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74721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xmlns="" val="2137389811"/>
              </p:ext>
            </p:extLst>
          </p:nvPr>
        </p:nvGraphicFramePr>
        <p:xfrm>
          <a:off x="755576" y="1196752"/>
          <a:ext cx="7768004" cy="482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2195736" y="1885574"/>
            <a:ext cx="15279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пре ревитализације</a:t>
            </a: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12160" y="2101017"/>
            <a:ext cx="14520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до 2022. год.</a:t>
            </a: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95747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8864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Cyrl-RS" sz="2400" dirty="0" smtClean="0">
                <a:solidFill>
                  <a:schemeClr val="bg1"/>
                </a:solidFill>
              </a:rPr>
              <a:t>Производња 2000-2018. година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842" y="1507739"/>
            <a:ext cx="8760315" cy="41633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827584" y="5229200"/>
            <a:ext cx="288175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r>
              <a:rPr lang="sr-Latn-RS" altLang="sr-Latn-R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u</a:t>
            </a:r>
            <a:r>
              <a:rPr lang="sr-Cyrl-RS" altLang="sr-Latn-R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sr-Cyrl-RS" altLang="sr-Latn-R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ефицијент поузданости</a:t>
            </a:r>
            <a:endParaRPr lang="sr-Latn-RS" altLang="sr-Latn-RS" dirty="0"/>
          </a:p>
        </p:txBody>
      </p:sp>
    </p:spTree>
    <p:extLst>
      <p:ext uri="{BB962C8B-B14F-4D97-AF65-F5344CB8AC3E}">
        <p14:creationId xmlns:p14="http://schemas.microsoft.com/office/powerpoint/2010/main" xmlns="" val="19260484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7504" y="188640"/>
            <a:ext cx="90364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Cyrl-RS" sz="2400" dirty="0" smtClean="0">
                <a:solidFill>
                  <a:schemeClr val="bg1"/>
                </a:solidFill>
              </a:rPr>
              <a:t>Производња 2000</a:t>
            </a:r>
            <a:r>
              <a:rPr lang="en-US" sz="2400" dirty="0" smtClean="0">
                <a:solidFill>
                  <a:schemeClr val="bg1"/>
                </a:solidFill>
              </a:rPr>
              <a:t>. </a:t>
            </a:r>
            <a:r>
              <a:rPr lang="sr-Cyrl-RS" sz="2400" dirty="0" smtClean="0">
                <a:solidFill>
                  <a:schemeClr val="bg1"/>
                </a:solidFill>
              </a:rPr>
              <a:t>-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sr-Cyrl-RS" sz="2400" dirty="0" smtClean="0">
                <a:solidFill>
                  <a:schemeClr val="bg1"/>
                </a:solidFill>
              </a:rPr>
              <a:t>2018. година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12" y="1556792"/>
            <a:ext cx="8839683" cy="4123899"/>
          </a:xfrm>
          <a:prstGeom prst="rect">
            <a:avLst/>
          </a:prstGeom>
        </p:spPr>
      </p:pic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539552" y="5157192"/>
            <a:ext cx="393133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r>
              <a:rPr lang="sr-Cyrl-RS" altLang="sr-Latn-RS" sz="1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sr-Cyrl-RS" altLang="sr-Latn-RS" sz="1400" dirty="0" smtClean="0">
                <a:solidFill>
                  <a:srgbClr val="FF0000"/>
                </a:solidFill>
                <a:latin typeface="Arial" panose="020B0604020202020204" pitchFamily="34" charset="0"/>
              </a:rPr>
              <a:t>оефицијент испада због кварова на опреми</a:t>
            </a:r>
            <a:endParaRPr lang="sr-Latn-RS" altLang="sr-Latn-R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28251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1520" y="1216617"/>
            <a:ext cx="3888432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Tx/>
              <a:buChar char="-"/>
            </a:pPr>
            <a:endParaRPr lang="sr-Cyrl-RS" sz="1200" b="1" dirty="0" smtClean="0">
              <a:solidFill>
                <a:srgbClr val="003296"/>
              </a:solidFill>
              <a:latin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endParaRPr lang="sr-Cyrl-RS" sz="1400" b="1" dirty="0">
              <a:solidFill>
                <a:srgbClr val="0041C4"/>
              </a:solidFill>
              <a:latin typeface="Times New Roman" panose="02020603050405020304" pitchFamily="18" charset="0"/>
            </a:endParaRPr>
          </a:p>
          <a:p>
            <a:pPr marL="171450" indent="-171450">
              <a:buFontTx/>
              <a:buChar char="-"/>
            </a:pPr>
            <a:endParaRPr lang="sr-Cyrl-RS" sz="1400" b="1" dirty="0" smtClean="0">
              <a:solidFill>
                <a:srgbClr val="0041C4"/>
              </a:solidFill>
              <a:latin typeface="Times New Roman" panose="02020603050405020304" pitchFamily="18" charset="0"/>
            </a:endParaRPr>
          </a:p>
          <a:p>
            <a:endParaRPr lang="sr-Cyrl-RS" b="1" dirty="0" smtClean="0">
              <a:solidFill>
                <a:srgbClr val="1F497D"/>
              </a:solidFill>
            </a:endParaRPr>
          </a:p>
          <a:p>
            <a:r>
              <a:rPr lang="sr-Cyrl-RS" b="1" dirty="0" smtClean="0">
                <a:solidFill>
                  <a:srgbClr val="1F497D"/>
                </a:solidFill>
              </a:rPr>
              <a:t>РБ </a:t>
            </a:r>
            <a:r>
              <a:rPr lang="sr-Cyrl-RS" b="1" dirty="0">
                <a:solidFill>
                  <a:srgbClr val="1F497D"/>
                </a:solidFill>
              </a:rPr>
              <a:t>„КОЛУБАРА“</a:t>
            </a:r>
          </a:p>
          <a:p>
            <a:endParaRPr lang="sr-Cyrl-RS" sz="1400" b="1" dirty="0">
              <a:solidFill>
                <a:srgbClr val="003296"/>
              </a:solidFill>
            </a:endParaRPr>
          </a:p>
          <a:p>
            <a:r>
              <a:rPr lang="sr-Cyrl-RS" b="1" dirty="0">
                <a:solidFill>
                  <a:srgbClr val="1F497D"/>
                </a:solidFill>
              </a:rPr>
              <a:t>Урађени</a:t>
            </a:r>
            <a:r>
              <a:rPr lang="sr-Cyrl-RS" sz="1400" dirty="0">
                <a:solidFill>
                  <a:srgbClr val="1F497D"/>
                </a:solidFill>
              </a:rPr>
              <a:t> </a:t>
            </a:r>
          </a:p>
          <a:p>
            <a:pPr marL="171450" indent="-171450" algn="r">
              <a:buFontTx/>
              <a:buChar char="-"/>
            </a:pPr>
            <a:r>
              <a:rPr lang="sr-Cyrl-RS" sz="1400" dirty="0">
                <a:solidFill>
                  <a:srgbClr val="1F497D"/>
                </a:solidFill>
              </a:rPr>
              <a:t>Нови БТО систем за </a:t>
            </a:r>
            <a:r>
              <a:rPr lang="sr-Cyrl-RS" sz="1400" dirty="0" smtClean="0">
                <a:solidFill>
                  <a:srgbClr val="1F497D"/>
                </a:solidFill>
              </a:rPr>
              <a:t>ПК </a:t>
            </a:r>
            <a:r>
              <a:rPr lang="sr-Cyrl-RS" sz="1400" dirty="0">
                <a:solidFill>
                  <a:srgbClr val="1F497D"/>
                </a:solidFill>
              </a:rPr>
              <a:t>„Поље Ц“</a:t>
            </a:r>
            <a:r>
              <a:rPr lang="en-US" sz="1400" dirty="0">
                <a:solidFill>
                  <a:srgbClr val="1F497D"/>
                </a:solidFill>
              </a:rPr>
              <a:t> </a:t>
            </a:r>
            <a:r>
              <a:rPr lang="en-US" sz="1400" dirty="0" smtClean="0">
                <a:solidFill>
                  <a:srgbClr val="1F497D"/>
                </a:solidFill>
              </a:rPr>
              <a:t>– </a:t>
            </a:r>
          </a:p>
          <a:p>
            <a:pPr algn="r"/>
            <a:r>
              <a:rPr lang="en-US" sz="1400" b="1" dirty="0" smtClean="0">
                <a:solidFill>
                  <a:srgbClr val="1F497D"/>
                </a:solidFill>
              </a:rPr>
              <a:t>80 </a:t>
            </a:r>
            <a:r>
              <a:rPr lang="sr-Cyrl-RS" sz="1400" b="1" dirty="0">
                <a:solidFill>
                  <a:srgbClr val="1F497D"/>
                </a:solidFill>
              </a:rPr>
              <a:t>милиона евра</a:t>
            </a:r>
          </a:p>
          <a:p>
            <a:pPr marL="171450" indent="-171450" algn="r">
              <a:buFontTx/>
              <a:buChar char="-"/>
            </a:pPr>
            <a:r>
              <a:rPr lang="sr-Cyrl-RS" sz="1400" dirty="0">
                <a:solidFill>
                  <a:srgbClr val="1F497D"/>
                </a:solidFill>
              </a:rPr>
              <a:t>Систем за управљање квалитетом угља на западном делу Колубарског басена </a:t>
            </a:r>
            <a:r>
              <a:rPr lang="en-US" sz="1400" dirty="0" smtClean="0">
                <a:solidFill>
                  <a:srgbClr val="1F497D"/>
                </a:solidFill>
              </a:rPr>
              <a:t>-</a:t>
            </a:r>
            <a:r>
              <a:rPr lang="sr-Cyrl-RS" sz="1400" dirty="0" smtClean="0">
                <a:solidFill>
                  <a:srgbClr val="1F497D"/>
                </a:solidFill>
              </a:rPr>
              <a:t> </a:t>
            </a:r>
            <a:r>
              <a:rPr lang="sr-Cyrl-RS" sz="1400" b="1" dirty="0">
                <a:solidFill>
                  <a:srgbClr val="1F497D"/>
                </a:solidFill>
              </a:rPr>
              <a:t>76,9 милиона </a:t>
            </a:r>
            <a:r>
              <a:rPr lang="sr-Cyrl-RS" sz="1400" b="1" dirty="0" smtClean="0">
                <a:solidFill>
                  <a:srgbClr val="1F497D"/>
                </a:solidFill>
              </a:rPr>
              <a:t>евра</a:t>
            </a:r>
            <a:endParaRPr lang="sr-Cyrl-RS" dirty="0">
              <a:solidFill>
                <a:srgbClr val="1F497D"/>
              </a:solidFill>
            </a:endParaRPr>
          </a:p>
          <a:p>
            <a:endParaRPr lang="en-US" b="1" dirty="0" smtClean="0">
              <a:solidFill>
                <a:srgbClr val="1F497D"/>
              </a:solidFill>
            </a:endParaRPr>
          </a:p>
          <a:p>
            <a:r>
              <a:rPr lang="sr-Cyrl-RS" b="1" dirty="0" smtClean="0">
                <a:solidFill>
                  <a:srgbClr val="1F497D"/>
                </a:solidFill>
              </a:rPr>
              <a:t>Најзначајнија </a:t>
            </a:r>
            <a:r>
              <a:rPr lang="sr-Cyrl-RS" b="1" dirty="0">
                <a:solidFill>
                  <a:srgbClr val="1F497D"/>
                </a:solidFill>
              </a:rPr>
              <a:t>инфраструктурна улагања</a:t>
            </a:r>
          </a:p>
          <a:p>
            <a:pPr marL="171450" indent="-171450" algn="r">
              <a:buFontTx/>
              <a:buChar char="-"/>
            </a:pPr>
            <a:endParaRPr lang="sr-Cyrl-RS" sz="1400" dirty="0">
              <a:solidFill>
                <a:srgbClr val="1F497D"/>
              </a:solidFill>
            </a:endParaRPr>
          </a:p>
          <a:p>
            <a:pPr marL="171450" indent="-171450" algn="r">
              <a:buFontTx/>
              <a:buChar char="-"/>
            </a:pPr>
            <a:r>
              <a:rPr lang="sr-Cyrl-RS" sz="1400" dirty="0">
                <a:solidFill>
                  <a:srgbClr val="1F497D"/>
                </a:solidFill>
              </a:rPr>
              <a:t>Измештање дела корита реке Колубаре и ушћа реке Пештан  - </a:t>
            </a:r>
            <a:r>
              <a:rPr lang="sr-Cyrl-RS" sz="1400" b="1" dirty="0" smtClean="0">
                <a:solidFill>
                  <a:srgbClr val="1F497D"/>
                </a:solidFill>
              </a:rPr>
              <a:t>10 </a:t>
            </a:r>
            <a:r>
              <a:rPr lang="sr-Cyrl-RS" sz="1400" b="1" dirty="0">
                <a:solidFill>
                  <a:srgbClr val="1F497D"/>
                </a:solidFill>
              </a:rPr>
              <a:t>милиона евра</a:t>
            </a:r>
          </a:p>
          <a:p>
            <a:pPr marL="171450" indent="-171450" algn="r">
              <a:buFontTx/>
              <a:buChar char="-"/>
            </a:pPr>
            <a:r>
              <a:rPr lang="sr-Cyrl-RS" sz="1400" dirty="0">
                <a:solidFill>
                  <a:srgbClr val="1F497D"/>
                </a:solidFill>
              </a:rPr>
              <a:t>Измештање дела Ибарске магистрале </a:t>
            </a:r>
            <a:r>
              <a:rPr lang="en-US" sz="1400" dirty="0" smtClean="0">
                <a:solidFill>
                  <a:srgbClr val="1F497D"/>
                </a:solidFill>
              </a:rPr>
              <a:t>-</a:t>
            </a:r>
            <a:r>
              <a:rPr lang="sr-Cyrl-RS" sz="1400" b="1" dirty="0" smtClean="0">
                <a:solidFill>
                  <a:srgbClr val="1F497D"/>
                </a:solidFill>
              </a:rPr>
              <a:t>5,1 </a:t>
            </a:r>
            <a:r>
              <a:rPr lang="sr-Cyrl-RS" sz="1400" b="1" dirty="0">
                <a:solidFill>
                  <a:srgbClr val="1F497D"/>
                </a:solidFill>
              </a:rPr>
              <a:t>милион евра</a:t>
            </a:r>
          </a:p>
          <a:p>
            <a:pPr marL="171450" indent="-171450" algn="r">
              <a:buFontTx/>
              <a:buChar char="-"/>
            </a:pPr>
            <a:r>
              <a:rPr lang="sr-Cyrl-RS" sz="1400" dirty="0">
                <a:solidFill>
                  <a:srgbClr val="1F497D"/>
                </a:solidFill>
              </a:rPr>
              <a:t>Измештање дела корита реке </a:t>
            </a:r>
            <a:r>
              <a:rPr lang="sr-Cyrl-RS" sz="1400" dirty="0" err="1">
                <a:solidFill>
                  <a:srgbClr val="1F497D"/>
                </a:solidFill>
              </a:rPr>
              <a:t>Пештан</a:t>
            </a:r>
            <a:r>
              <a:rPr lang="sr-Cyrl-RS" sz="1400" dirty="0">
                <a:solidFill>
                  <a:srgbClr val="1F497D"/>
                </a:solidFill>
              </a:rPr>
              <a:t> и дела регионалног пута Вреоци – </a:t>
            </a:r>
            <a:r>
              <a:rPr lang="sr-Cyrl-RS" sz="1400" dirty="0" err="1">
                <a:solidFill>
                  <a:srgbClr val="1F497D"/>
                </a:solidFill>
              </a:rPr>
              <a:t>Барошевац</a:t>
            </a:r>
            <a:r>
              <a:rPr lang="sr-Cyrl-RS" sz="1400" dirty="0">
                <a:solidFill>
                  <a:srgbClr val="1F497D"/>
                </a:solidFill>
              </a:rPr>
              <a:t> – </a:t>
            </a:r>
            <a:r>
              <a:rPr lang="sr-Cyrl-RS" sz="1400" b="1" dirty="0">
                <a:solidFill>
                  <a:srgbClr val="1F497D"/>
                </a:solidFill>
              </a:rPr>
              <a:t>9,5 милиона евра</a:t>
            </a:r>
          </a:p>
          <a:p>
            <a:pPr marL="628650" lvl="1" indent="-171450">
              <a:buFontTx/>
              <a:buChar char="-"/>
            </a:pPr>
            <a:endParaRPr lang="sr-Cyrl-RS" sz="1400" dirty="0">
              <a:solidFill>
                <a:srgbClr val="1F497D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3568" y="188640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dirty="0">
                <a:solidFill>
                  <a:schemeClr val="bg1"/>
                </a:solidFill>
              </a:rPr>
              <a:t>Најзначајнији пројекти у рударском сектору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endParaRPr lang="en-US" b="1" dirty="0" smtClean="0">
              <a:solidFill>
                <a:schemeClr val="bg1"/>
              </a:solidFill>
            </a:endParaRP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639"/>
          <a:stretch/>
        </p:blipFill>
        <p:spPr>
          <a:xfrm>
            <a:off x="4211961" y="3260259"/>
            <a:ext cx="4968552" cy="36159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6547" b="1"/>
          <a:stretch/>
        </p:blipFill>
        <p:spPr>
          <a:xfrm>
            <a:off x="4211961" y="908720"/>
            <a:ext cx="4968552" cy="235153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23528" y="1216617"/>
            <a:ext cx="3168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dirty="0" smtClean="0">
                <a:solidFill>
                  <a:srgbClr val="1F497D"/>
                </a:solidFill>
              </a:rPr>
              <a:t>Укупне инвестиције у рударски сектор од 2010. до 2018. износе око </a:t>
            </a:r>
            <a:r>
              <a:rPr lang="sr-Cyrl-RS" sz="1600" b="1" dirty="0" smtClean="0">
                <a:solidFill>
                  <a:srgbClr val="1F497D"/>
                </a:solidFill>
              </a:rPr>
              <a:t>810 милиона евра</a:t>
            </a:r>
            <a:endParaRPr lang="en-US" sz="16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40261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72000" y="1052736"/>
            <a:ext cx="4320480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Cyrl-RS" sz="1400" b="1" dirty="0" smtClean="0">
                <a:solidFill>
                  <a:schemeClr val="tx2"/>
                </a:solidFill>
              </a:rPr>
              <a:t> </a:t>
            </a:r>
          </a:p>
          <a:p>
            <a:r>
              <a:rPr lang="sr-Cyrl-RS" sz="1400" b="1" dirty="0">
                <a:solidFill>
                  <a:schemeClr val="accent1">
                    <a:lumMod val="50000"/>
                  </a:schemeClr>
                </a:solidFill>
              </a:rPr>
              <a:t>„ТЕ-КО Костолац“</a:t>
            </a:r>
          </a:p>
          <a:p>
            <a:endParaRPr lang="sr-Cyrl-RS" sz="1400" b="1" dirty="0">
              <a:solidFill>
                <a:schemeClr val="tx2"/>
              </a:solidFill>
            </a:endParaRPr>
          </a:p>
          <a:p>
            <a:endParaRPr lang="sr-Cyrl-RS" sz="1400" dirty="0">
              <a:solidFill>
                <a:srgbClr val="002060"/>
              </a:solidFill>
            </a:endParaRPr>
          </a:p>
          <a:p>
            <a:r>
              <a:rPr lang="sr-Cyrl-RS" sz="1400" b="1" dirty="0">
                <a:solidFill>
                  <a:srgbClr val="002060"/>
                </a:solidFill>
              </a:rPr>
              <a:t>Урађени</a:t>
            </a:r>
          </a:p>
          <a:p>
            <a:r>
              <a:rPr lang="sr-Cyrl-RS" sz="1400" dirty="0">
                <a:solidFill>
                  <a:srgbClr val="002060"/>
                </a:solidFill>
              </a:rPr>
              <a:t> </a:t>
            </a:r>
          </a:p>
          <a:p>
            <a:pPr marL="128588" indent="-128588">
              <a:buFontTx/>
              <a:buChar char="-"/>
            </a:pPr>
            <a:r>
              <a:rPr lang="sr-Cyrl-RS" sz="1400" dirty="0">
                <a:solidFill>
                  <a:srgbClr val="002060"/>
                </a:solidFill>
              </a:rPr>
              <a:t>Нови БТО систем за ПК „</a:t>
            </a:r>
            <a:r>
              <a:rPr lang="sr-Cyrl-RS" sz="1400" dirty="0" err="1">
                <a:solidFill>
                  <a:srgbClr val="002060"/>
                </a:solidFill>
              </a:rPr>
              <a:t>Дрмно</a:t>
            </a:r>
            <a:r>
              <a:rPr lang="sr-Cyrl-RS" sz="1400" dirty="0">
                <a:solidFill>
                  <a:srgbClr val="002060"/>
                </a:solidFill>
              </a:rPr>
              <a:t>“  - реализован 2016.- 2019. </a:t>
            </a:r>
            <a:r>
              <a:rPr lang="en-US" sz="1400" dirty="0">
                <a:solidFill>
                  <a:srgbClr val="002060"/>
                </a:solidFill>
              </a:rPr>
              <a:t>– </a:t>
            </a:r>
            <a:r>
              <a:rPr lang="en-US" sz="1400" b="1" dirty="0">
                <a:solidFill>
                  <a:srgbClr val="002060"/>
                </a:solidFill>
              </a:rPr>
              <a:t>97,6 </a:t>
            </a:r>
            <a:r>
              <a:rPr lang="sr-Cyrl-RS" sz="1400" b="1" dirty="0">
                <a:solidFill>
                  <a:srgbClr val="002060"/>
                </a:solidFill>
              </a:rPr>
              <a:t>милиона долара</a:t>
            </a:r>
          </a:p>
          <a:p>
            <a:pPr marL="128588" indent="-128588">
              <a:buFontTx/>
              <a:buChar char="-"/>
            </a:pPr>
            <a:endParaRPr lang="sr-Cyrl-RS" sz="1400" dirty="0">
              <a:solidFill>
                <a:srgbClr val="002060"/>
              </a:solidFill>
            </a:endParaRPr>
          </a:p>
          <a:p>
            <a:pPr marL="128588" indent="-128588">
              <a:buFontTx/>
              <a:buChar char="-"/>
            </a:pPr>
            <a:r>
              <a:rPr lang="sr-Cyrl-RS" sz="1400" dirty="0">
                <a:solidFill>
                  <a:srgbClr val="002060"/>
                </a:solidFill>
              </a:rPr>
              <a:t>Реконструкција система за извоз угља из ПК „</a:t>
            </a:r>
            <a:r>
              <a:rPr lang="sr-Cyrl-RS" sz="1400" dirty="0" err="1">
                <a:solidFill>
                  <a:srgbClr val="002060"/>
                </a:solidFill>
              </a:rPr>
              <a:t>Дрмно</a:t>
            </a:r>
            <a:r>
              <a:rPr lang="sr-Cyrl-RS" sz="1400" dirty="0">
                <a:solidFill>
                  <a:srgbClr val="002060"/>
                </a:solidFill>
              </a:rPr>
              <a:t>“ </a:t>
            </a:r>
          </a:p>
          <a:p>
            <a:pPr marL="128588" indent="-128588">
              <a:buFontTx/>
              <a:buChar char="-"/>
            </a:pPr>
            <a:endParaRPr lang="sr-Cyrl-RS" sz="1400" dirty="0">
              <a:solidFill>
                <a:srgbClr val="002060"/>
              </a:solidFill>
            </a:endParaRPr>
          </a:p>
          <a:p>
            <a:r>
              <a:rPr lang="sr-Cyrl-RS" sz="1400" dirty="0" smtClean="0">
                <a:solidFill>
                  <a:srgbClr val="002060"/>
                </a:solidFill>
              </a:rPr>
              <a:t>  </a:t>
            </a:r>
            <a:endParaRPr lang="sr-Cyrl-RS" sz="1400" dirty="0">
              <a:solidFill>
                <a:srgbClr val="002060"/>
              </a:solidFill>
            </a:endParaRPr>
          </a:p>
          <a:p>
            <a:r>
              <a:rPr lang="sr-Cyrl-RS" sz="1400" b="1" dirty="0">
                <a:solidFill>
                  <a:srgbClr val="002060"/>
                </a:solidFill>
              </a:rPr>
              <a:t>Најзначајнија инфраструктурна </a:t>
            </a:r>
            <a:r>
              <a:rPr lang="sr-Cyrl-RS" sz="1400" b="1" dirty="0" smtClean="0">
                <a:solidFill>
                  <a:srgbClr val="002060"/>
                </a:solidFill>
              </a:rPr>
              <a:t>улагања</a:t>
            </a:r>
          </a:p>
          <a:p>
            <a:endParaRPr lang="sr-Cyrl-RS" sz="1400" dirty="0">
              <a:solidFill>
                <a:srgbClr val="002060"/>
              </a:solidFill>
            </a:endParaRPr>
          </a:p>
          <a:p>
            <a:pPr marL="128588" indent="-128588">
              <a:buFontTx/>
              <a:buChar char="-"/>
            </a:pPr>
            <a:r>
              <a:rPr lang="sr-Cyrl-RS" sz="1400" dirty="0">
                <a:solidFill>
                  <a:srgbClr val="002060"/>
                </a:solidFill>
              </a:rPr>
              <a:t>Измештање корита </a:t>
            </a:r>
            <a:r>
              <a:rPr lang="sr-Cyrl-RS" sz="1400" dirty="0" err="1">
                <a:solidFill>
                  <a:srgbClr val="002060"/>
                </a:solidFill>
              </a:rPr>
              <a:t>Дунавца</a:t>
            </a:r>
            <a:r>
              <a:rPr lang="sr-Cyrl-RS" sz="1400" dirty="0">
                <a:solidFill>
                  <a:srgbClr val="002060"/>
                </a:solidFill>
              </a:rPr>
              <a:t> </a:t>
            </a:r>
          </a:p>
          <a:p>
            <a:pPr marL="128588" indent="-128588">
              <a:buFontTx/>
              <a:buChar char="-"/>
            </a:pPr>
            <a:r>
              <a:rPr lang="sr-Cyrl-RS" sz="1400" dirty="0">
                <a:solidFill>
                  <a:srgbClr val="002060"/>
                </a:solidFill>
              </a:rPr>
              <a:t>Изградња водонепропусног екрана на ПК „</a:t>
            </a:r>
            <a:r>
              <a:rPr lang="sr-Cyrl-RS" sz="1400" dirty="0" err="1">
                <a:solidFill>
                  <a:srgbClr val="002060"/>
                </a:solidFill>
              </a:rPr>
              <a:t>Дрмно</a:t>
            </a:r>
            <a:r>
              <a:rPr lang="sr-Cyrl-RS" sz="1400" dirty="0">
                <a:solidFill>
                  <a:srgbClr val="002060"/>
                </a:solidFill>
              </a:rPr>
              <a:t>“</a:t>
            </a:r>
          </a:p>
          <a:p>
            <a:pPr marL="128588" indent="-128588">
              <a:buFontTx/>
              <a:buChar char="-"/>
            </a:pPr>
            <a:r>
              <a:rPr lang="sr-Cyrl-RS" sz="1400" dirty="0">
                <a:solidFill>
                  <a:srgbClr val="002060"/>
                </a:solidFill>
              </a:rPr>
              <a:t>Археолошки радови на локалитету „</a:t>
            </a:r>
            <a:r>
              <a:rPr lang="sr-Cyrl-RS" sz="1400" dirty="0" err="1">
                <a:solidFill>
                  <a:srgbClr val="002060"/>
                </a:solidFill>
              </a:rPr>
              <a:t>Виминацијум</a:t>
            </a:r>
            <a:r>
              <a:rPr lang="sr-Cyrl-RS" sz="1400" dirty="0">
                <a:solidFill>
                  <a:srgbClr val="002060"/>
                </a:solidFill>
              </a:rPr>
              <a:t>“ и истраживање нових локалитета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396552" y="18864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Cyrl-RS" b="1" dirty="0">
                <a:solidFill>
                  <a:schemeClr val="bg1"/>
                </a:solidFill>
              </a:rPr>
              <a:t>Најзначајнији пројекти у рударском </a:t>
            </a:r>
            <a:r>
              <a:rPr lang="sr-Cyrl-RS" b="1" dirty="0" smtClean="0">
                <a:solidFill>
                  <a:schemeClr val="bg1"/>
                </a:solidFill>
              </a:rPr>
              <a:t>сектору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888764"/>
            <a:ext cx="3995936" cy="5969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181832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55976" y="2046244"/>
            <a:ext cx="3609749" cy="4812999"/>
          </a:xfrm>
          <a:prstGeom prst="rect">
            <a:avLst/>
          </a:prstGeom>
        </p:spPr>
      </p:pic>
      <p:graphicFrame>
        <p:nvGraphicFramePr>
          <p:cNvPr id="5" name="Object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35754875"/>
              </p:ext>
            </p:extLst>
          </p:nvPr>
        </p:nvGraphicFramePr>
        <p:xfrm>
          <a:off x="4336437" y="4365104"/>
          <a:ext cx="1022350" cy="901700"/>
        </p:xfrm>
        <a:graphic>
          <a:graphicData uri="http://schemas.openxmlformats.org/presentationml/2006/ole">
            <p:oleObj spid="_x0000_s103442" name="CorelDRAW" r:id="rId4" imgW="2898648" imgH="2560320" progId="">
              <p:embed/>
            </p:oleObj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2123728" y="3861048"/>
            <a:ext cx="3429000" cy="398855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sr-Cyrl-RS" b="1" dirty="0" smtClean="0">
                <a:solidFill>
                  <a:srgbClr val="002060"/>
                </a:solidFill>
              </a:rPr>
              <a:t>ХВАЛА НА ПАЖЊИ</a:t>
            </a:r>
            <a:endParaRPr lang="en-US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681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3059832" y="1700808"/>
            <a:ext cx="2952328" cy="5040560"/>
          </a:xfrm>
        </p:spPr>
        <p:txBody>
          <a:bodyPr/>
          <a:lstStyle/>
          <a:p>
            <a:pPr marL="0" indent="0">
              <a:buNone/>
            </a:pPr>
            <a:r>
              <a:rPr lang="sr-Cyrl-RS" sz="1400" dirty="0" smtClean="0">
                <a:solidFill>
                  <a:srgbClr val="002060"/>
                </a:solidFill>
              </a:rPr>
              <a:t>ЈП Електропривреда Србије има укупно инсталисаних </a:t>
            </a:r>
            <a:r>
              <a:rPr lang="sr-Cyrl-RS" sz="1400" b="1" dirty="0" smtClean="0">
                <a:solidFill>
                  <a:srgbClr val="002060"/>
                </a:solidFill>
              </a:rPr>
              <a:t>7.820 М</a:t>
            </a:r>
            <a:r>
              <a:rPr lang="sr-Latn-RS" sz="1400" b="1" dirty="0" smtClean="0">
                <a:solidFill>
                  <a:srgbClr val="002060"/>
                </a:solidFill>
              </a:rPr>
              <a:t>W </a:t>
            </a:r>
            <a:r>
              <a:rPr lang="sr-Cyrl-RS" sz="1400" dirty="0" smtClean="0">
                <a:solidFill>
                  <a:srgbClr val="002060"/>
                </a:solidFill>
              </a:rPr>
              <a:t>снаге од тога:</a:t>
            </a:r>
          </a:p>
          <a:p>
            <a:pPr indent="-285750"/>
            <a:r>
              <a:rPr lang="sr-Cyrl-RS" sz="1400" dirty="0" smtClean="0">
                <a:solidFill>
                  <a:srgbClr val="002060"/>
                </a:solidFill>
              </a:rPr>
              <a:t>Термоелектране и </a:t>
            </a:r>
            <a:r>
              <a:rPr lang="en-US" sz="1400" dirty="0" smtClean="0">
                <a:solidFill>
                  <a:srgbClr val="002060"/>
                </a:solidFill>
              </a:rPr>
              <a:t>TE-TO </a:t>
            </a:r>
            <a:r>
              <a:rPr lang="sr-Cyrl-RS" sz="1400" dirty="0" smtClean="0">
                <a:solidFill>
                  <a:srgbClr val="002060"/>
                </a:solidFill>
              </a:rPr>
              <a:t>укупно </a:t>
            </a:r>
            <a:r>
              <a:rPr lang="sr-Cyrl-RS" sz="1400" b="1" dirty="0" smtClean="0">
                <a:solidFill>
                  <a:srgbClr val="002060"/>
                </a:solidFill>
              </a:rPr>
              <a:t>4.840 М</a:t>
            </a:r>
            <a:r>
              <a:rPr lang="sr-Latn-RS" sz="1400" b="1" dirty="0" smtClean="0">
                <a:solidFill>
                  <a:srgbClr val="002060"/>
                </a:solidFill>
              </a:rPr>
              <a:t>W</a:t>
            </a:r>
            <a:endParaRPr lang="sr-Cyrl-RS" sz="1400" dirty="0" smtClean="0">
              <a:solidFill>
                <a:srgbClr val="002060"/>
              </a:solidFill>
            </a:endParaRPr>
          </a:p>
          <a:p>
            <a:pPr indent="-285750"/>
            <a:r>
              <a:rPr lang="sr-Cyrl-RS" sz="1400" dirty="0" smtClean="0">
                <a:solidFill>
                  <a:srgbClr val="002060"/>
                </a:solidFill>
              </a:rPr>
              <a:t>Хидроелектране укупно </a:t>
            </a:r>
            <a:r>
              <a:rPr lang="sr-Cyrl-RS" sz="1400" b="1" dirty="0" smtClean="0">
                <a:solidFill>
                  <a:srgbClr val="002060"/>
                </a:solidFill>
              </a:rPr>
              <a:t>2</a:t>
            </a:r>
            <a:r>
              <a:rPr lang="en-US" sz="1400" b="1" dirty="0" smtClean="0">
                <a:solidFill>
                  <a:srgbClr val="002060"/>
                </a:solidFill>
              </a:rPr>
              <a:t>.</a:t>
            </a:r>
            <a:r>
              <a:rPr lang="sr-Cyrl-RS" sz="1400" b="1" dirty="0" smtClean="0">
                <a:solidFill>
                  <a:srgbClr val="002060"/>
                </a:solidFill>
              </a:rPr>
              <a:t>980 М</a:t>
            </a:r>
            <a:r>
              <a:rPr lang="sr-Latn-RS" sz="1400" b="1" dirty="0" smtClean="0">
                <a:solidFill>
                  <a:srgbClr val="002060"/>
                </a:solidFill>
              </a:rPr>
              <a:t>W</a:t>
            </a:r>
            <a:endParaRPr lang="sr-Cyrl-RS" sz="1400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sr-Cyrl-RS" sz="1400" dirty="0" smtClean="0">
                <a:solidFill>
                  <a:srgbClr val="002060"/>
                </a:solidFill>
              </a:rPr>
              <a:t>Укупна годишња производња износи од </a:t>
            </a:r>
            <a:r>
              <a:rPr lang="sr-Cyrl-RS" sz="1400" b="1" dirty="0" smtClean="0">
                <a:solidFill>
                  <a:srgbClr val="002060"/>
                </a:solidFill>
              </a:rPr>
              <a:t>34.000</a:t>
            </a:r>
            <a:r>
              <a:rPr lang="sr-Latn-RS" sz="1400" b="1" dirty="0" smtClean="0">
                <a:solidFill>
                  <a:srgbClr val="002060"/>
                </a:solidFill>
              </a:rPr>
              <a:t> </a:t>
            </a:r>
            <a:r>
              <a:rPr lang="sr-Cyrl-RS" sz="1400" dirty="0" smtClean="0">
                <a:solidFill>
                  <a:srgbClr val="002060"/>
                </a:solidFill>
              </a:rPr>
              <a:t>до</a:t>
            </a:r>
            <a:r>
              <a:rPr lang="sr-Latn-RS" sz="1400" dirty="0" smtClean="0">
                <a:solidFill>
                  <a:srgbClr val="002060"/>
                </a:solidFill>
              </a:rPr>
              <a:t> </a:t>
            </a:r>
            <a:r>
              <a:rPr lang="sr-Latn-RS" sz="1400" b="1" dirty="0" smtClean="0">
                <a:solidFill>
                  <a:srgbClr val="002060"/>
                </a:solidFill>
              </a:rPr>
              <a:t>37.000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sr-Latn-RS" sz="1400" b="1" dirty="0" err="1" smtClean="0">
                <a:solidFill>
                  <a:srgbClr val="002060"/>
                </a:solidFill>
              </a:rPr>
              <a:t>GWh</a:t>
            </a:r>
            <a:r>
              <a:rPr lang="sr-Cyrl-RS" sz="1400" dirty="0" smtClean="0">
                <a:solidFill>
                  <a:srgbClr val="002060"/>
                </a:solidFill>
              </a:rPr>
              <a:t>, од тога:</a:t>
            </a:r>
          </a:p>
          <a:p>
            <a:pPr indent="-285750"/>
            <a:r>
              <a:rPr lang="sr-Cyrl-RS" sz="1400" dirty="0" smtClean="0">
                <a:solidFill>
                  <a:srgbClr val="002060"/>
                </a:solidFill>
              </a:rPr>
              <a:t>Термоелектране и </a:t>
            </a:r>
            <a:r>
              <a:rPr lang="en-US" sz="1400" dirty="0" smtClean="0">
                <a:solidFill>
                  <a:srgbClr val="002060"/>
                </a:solidFill>
              </a:rPr>
              <a:t>TE-TO </a:t>
            </a:r>
            <a:r>
              <a:rPr lang="sr-Cyrl-RS" sz="1400" dirty="0" smtClean="0">
                <a:solidFill>
                  <a:srgbClr val="002060"/>
                </a:solidFill>
              </a:rPr>
              <a:t>произведу од </a:t>
            </a:r>
            <a:r>
              <a:rPr lang="sr-Cyrl-RS" sz="1400" b="1" dirty="0" smtClean="0">
                <a:solidFill>
                  <a:srgbClr val="002060"/>
                </a:solidFill>
              </a:rPr>
              <a:t>23.000</a:t>
            </a:r>
            <a:r>
              <a:rPr lang="sr-Latn-RS" sz="1400" b="1" dirty="0" smtClean="0">
                <a:solidFill>
                  <a:srgbClr val="002060"/>
                </a:solidFill>
              </a:rPr>
              <a:t> </a:t>
            </a:r>
            <a:r>
              <a:rPr lang="sr-Cyrl-RS" sz="1400" dirty="0" smtClean="0">
                <a:solidFill>
                  <a:srgbClr val="002060"/>
                </a:solidFill>
              </a:rPr>
              <a:t>до </a:t>
            </a:r>
            <a:r>
              <a:rPr lang="sr-Cyrl-RS" sz="1400" b="1" dirty="0" smtClean="0">
                <a:solidFill>
                  <a:srgbClr val="002060"/>
                </a:solidFill>
              </a:rPr>
              <a:t>2</a:t>
            </a:r>
            <a:r>
              <a:rPr lang="en-US" sz="1400" b="1" dirty="0" smtClean="0">
                <a:solidFill>
                  <a:srgbClr val="002060"/>
                </a:solidFill>
              </a:rPr>
              <a:t>6</a:t>
            </a:r>
            <a:r>
              <a:rPr lang="sr-Cyrl-RS" sz="1400" b="1" dirty="0" smtClean="0">
                <a:solidFill>
                  <a:srgbClr val="002060"/>
                </a:solidFill>
              </a:rPr>
              <a:t>.</a:t>
            </a:r>
            <a:r>
              <a:rPr lang="en-US" sz="1400" b="1" dirty="0" smtClean="0">
                <a:solidFill>
                  <a:srgbClr val="002060"/>
                </a:solidFill>
              </a:rPr>
              <a:t>5</a:t>
            </a:r>
            <a:r>
              <a:rPr lang="sr-Cyrl-RS" sz="1400" b="1" dirty="0" smtClean="0">
                <a:solidFill>
                  <a:srgbClr val="002060"/>
                </a:solidFill>
              </a:rPr>
              <a:t>00</a:t>
            </a:r>
            <a:r>
              <a:rPr lang="sr-Latn-RS" sz="1400" b="1" dirty="0" smtClean="0">
                <a:solidFill>
                  <a:srgbClr val="002060"/>
                </a:solidFill>
              </a:rPr>
              <a:t> GWh</a:t>
            </a:r>
            <a:endParaRPr lang="sr-Cyrl-RS" sz="1400" b="1" dirty="0">
              <a:solidFill>
                <a:srgbClr val="002060"/>
              </a:solidFill>
            </a:endParaRPr>
          </a:p>
          <a:p>
            <a:pPr indent="-285750"/>
            <a:r>
              <a:rPr lang="sr-Cyrl-RS" sz="1400" dirty="0" smtClean="0">
                <a:solidFill>
                  <a:srgbClr val="002060"/>
                </a:solidFill>
              </a:rPr>
              <a:t>Хидроелектране произведу од </a:t>
            </a:r>
            <a:r>
              <a:rPr lang="sr-Cyrl-RS" sz="1400" b="1" dirty="0" smtClean="0">
                <a:solidFill>
                  <a:srgbClr val="002060"/>
                </a:solidFill>
              </a:rPr>
              <a:t>9.000</a:t>
            </a:r>
            <a:r>
              <a:rPr lang="sr-Latn-RS" sz="1400" b="1" dirty="0">
                <a:solidFill>
                  <a:srgbClr val="002060"/>
                </a:solidFill>
              </a:rPr>
              <a:t> </a:t>
            </a:r>
            <a:r>
              <a:rPr lang="sr-Cyrl-RS" sz="1400" dirty="0" smtClean="0">
                <a:solidFill>
                  <a:srgbClr val="002060"/>
                </a:solidFill>
              </a:rPr>
              <a:t>до </a:t>
            </a:r>
            <a:r>
              <a:rPr lang="sr-Cyrl-RS" sz="1400" b="1" dirty="0" smtClean="0">
                <a:solidFill>
                  <a:srgbClr val="002060"/>
                </a:solidFill>
              </a:rPr>
              <a:t>12.000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sr-Latn-RS" sz="1400" b="1" dirty="0" smtClean="0">
                <a:solidFill>
                  <a:srgbClr val="002060"/>
                </a:solidFill>
              </a:rPr>
              <a:t>GWh</a:t>
            </a:r>
            <a:endParaRPr lang="sr-Cyrl-RS" sz="14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sr-Cyrl-RS" sz="1800" dirty="0">
                <a:solidFill>
                  <a:srgbClr val="002060"/>
                </a:solidFill>
              </a:rPr>
              <a:t>	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2805929" y="44624"/>
            <a:ext cx="3668514" cy="792163"/>
          </a:xfrm>
        </p:spPr>
        <p:txBody>
          <a:bodyPr/>
          <a:lstStyle/>
          <a:p>
            <a:pPr algn="ctr"/>
            <a:r>
              <a:rPr lang="sr-Cyrl-RS" sz="2400" dirty="0" smtClean="0">
                <a:solidFill>
                  <a:schemeClr val="bg1"/>
                </a:solidFill>
              </a:rPr>
              <a:t>Производња енергије ЈП ЕПС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298" t="1737" r="25753"/>
          <a:stretch/>
        </p:blipFill>
        <p:spPr>
          <a:xfrm>
            <a:off x="6479704" y="-27297"/>
            <a:ext cx="2664296" cy="68853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6358" t="31" r="32634" b="221"/>
          <a:stretch/>
        </p:blipFill>
        <p:spPr>
          <a:xfrm>
            <a:off x="-10308" y="-4986"/>
            <a:ext cx="2844654" cy="686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419678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70565833"/>
              </p:ext>
            </p:extLst>
          </p:nvPr>
        </p:nvGraphicFramePr>
        <p:xfrm>
          <a:off x="5014498" y="1914375"/>
          <a:ext cx="3487711" cy="46172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151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725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4920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ектране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упно </a:t>
                      </a:r>
                      <a:r>
                        <a:rPr lang="sr-Latn-RS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€)</a:t>
                      </a:r>
                      <a:endParaRPr lang="en-US" sz="11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1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2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3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4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5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6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Б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sr-Latn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Б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sr-Latn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 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убара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7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 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рава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5221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упно ТЕНТ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sr-Latn-R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en-U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sr-Cyrl-R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7</a:t>
                      </a:r>
                      <a:r>
                        <a:rPr lang="sr-Cyrl-R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4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 Костолац</a:t>
                      </a:r>
                      <a:r>
                        <a:rPr lang="sr-Cyrl-RS" sz="10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1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.50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 Костолац</a:t>
                      </a:r>
                      <a:r>
                        <a:rPr lang="sr-Cyrl-RS" sz="10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2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7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 Костолац Б1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Latn-RS" sz="1000" b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.88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 Костолац</a:t>
                      </a:r>
                      <a:r>
                        <a:rPr lang="sr-Cyrl-RS" sz="10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2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.24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479963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упно ТЕ-КО Костолац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3.790.000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45221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упно</a:t>
                      </a:r>
                      <a:r>
                        <a:rPr lang="sr-Cyrl-RS" sz="14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рмосектор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37.467.500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Е Ђердап 1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4.40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Е Бајина Башта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.00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Е Зворник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.00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78152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ле ХЕ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000.000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245221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упно</a:t>
                      </a:r>
                      <a:r>
                        <a:rPr lang="sr-Cyrl-RS" sz="14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хидросектор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6.400.000</a:t>
                      </a:r>
                      <a:endParaRPr lang="en-US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3000" y="188640"/>
            <a:ext cx="8389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sz="2400" dirty="0" smtClean="0">
                <a:solidFill>
                  <a:schemeClr val="bg1"/>
                </a:solidFill>
              </a:rPr>
              <a:t>Реализовани пројекти и пројекти у току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81960614"/>
              </p:ext>
            </p:extLst>
          </p:nvPr>
        </p:nvGraphicFramePr>
        <p:xfrm>
          <a:off x="410691" y="263691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450771" y="1181943"/>
            <a:ext cx="70390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>
                <a:solidFill>
                  <a:srgbClr val="002060"/>
                </a:solidFill>
              </a:rPr>
              <a:t>Укупне инвестиције у производна постројења</a:t>
            </a:r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sr-Cyrl-RS" b="1" dirty="0" smtClean="0">
                <a:solidFill>
                  <a:srgbClr val="002060"/>
                </a:solidFill>
              </a:rPr>
              <a:t>1.413.867.500</a:t>
            </a:r>
            <a:r>
              <a:rPr lang="en-US" b="1" dirty="0" smtClean="0">
                <a:solidFill>
                  <a:srgbClr val="002060"/>
                </a:solidFill>
              </a:rPr>
              <a:t> </a:t>
            </a:r>
            <a:r>
              <a:rPr lang="sr-Latn-RS" dirty="0">
                <a:solidFill>
                  <a:srgbClr val="002060"/>
                </a:solidFill>
              </a:rPr>
              <a:t>€</a:t>
            </a:r>
            <a:endParaRPr lang="en-US" b="1" dirty="0">
              <a:solidFill>
                <a:srgbClr val="002060"/>
              </a:solidFill>
            </a:endParaRPr>
          </a:p>
          <a:p>
            <a:endParaRPr lang="en-US" b="1" dirty="0">
              <a:solidFill>
                <a:srgbClr val="002060"/>
              </a:solidFill>
            </a:endParaRPr>
          </a:p>
          <a:p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1450771" y="1631647"/>
            <a:ext cx="68407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844048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"/>
          <p:cNvSpPr>
            <a:spLocks noGrp="1" noChangeArrowheads="1"/>
          </p:cNvSpPr>
          <p:nvPr>
            <p:ph type="title"/>
          </p:nvPr>
        </p:nvSpPr>
        <p:spPr>
          <a:xfrm>
            <a:off x="674077" y="792163"/>
            <a:ext cx="2362200" cy="854075"/>
          </a:xfrm>
        </p:spPr>
        <p:txBody>
          <a:bodyPr rtlCol="0">
            <a:normAutofit/>
          </a:bodyPr>
          <a:lstStyle/>
          <a:p>
            <a:r>
              <a:rPr lang="sr-Latn-R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ЛОЗИ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5" name="Content Placeholder 4"/>
          <p:cNvSpPr>
            <a:spLocks noGrp="1" noChangeArrowheads="1"/>
          </p:cNvSpPr>
          <p:nvPr>
            <p:ph idx="1"/>
          </p:nvPr>
        </p:nvSpPr>
        <p:spPr>
          <a:xfrm>
            <a:off x="674077" y="2133600"/>
            <a:ext cx="3429000" cy="3187700"/>
          </a:xfrm>
        </p:spPr>
        <p:txBody>
          <a:bodyPr rtlCol="0">
            <a:normAutofit lnSpcReduction="10000"/>
          </a:bodyPr>
          <a:lstStyle/>
          <a:p>
            <a:pPr lvl="0"/>
            <a:r>
              <a:rPr lang="sr-Cyrl-RS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ражена истрошеност постројења због старости и ниског нивоа одржавања током деведесетих година</a:t>
            </a:r>
          </a:p>
          <a:p>
            <a:pPr lvl="0"/>
            <a:r>
              <a:rPr lang="sr-Cyrl-RS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д расположиве снаге</a:t>
            </a:r>
          </a:p>
          <a:p>
            <a:pPr lvl="0"/>
            <a:r>
              <a:rPr lang="sr-Cyrl-RS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ећан број испада</a:t>
            </a:r>
          </a:p>
          <a:p>
            <a:pPr lvl="0"/>
            <a:r>
              <a:rPr lang="sr-Cyrl-RS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а за повећањем енергетске ефикасности </a:t>
            </a:r>
          </a:p>
          <a:p>
            <a:pPr lvl="0"/>
            <a:r>
              <a:rPr lang="sr-Cyrl-RS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а за смањењем утицаја на животну средину </a:t>
            </a:r>
          </a:p>
          <a:p>
            <a:pPr eaLnBrk="1" fontAlgn="auto" hangingPunct="1">
              <a:spcBef>
                <a:spcPct val="20000"/>
              </a:spcBef>
              <a:spcAft>
                <a:spcPts val="0"/>
              </a:spcAft>
              <a:buSzPct val="120000"/>
              <a:buFontTx/>
              <a:buChar char="•"/>
              <a:defRPr/>
            </a:pPr>
            <a:endParaRPr lang="sr-Cyrl-RS" altLang="sr-Latn-RS" sz="2400" dirty="0" smtClean="0">
              <a:solidFill>
                <a:schemeClr val="bg2">
                  <a:lumMod val="2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ct val="20000"/>
              </a:spcBef>
              <a:spcAft>
                <a:spcPts val="0"/>
              </a:spcAft>
              <a:buSzPct val="120000"/>
              <a:buFontTx/>
              <a:buChar char="•"/>
              <a:defRPr/>
            </a:pPr>
            <a:endParaRPr lang="en-US" altLang="sr-Latn-RS" sz="2400" dirty="0" smtClean="0">
              <a:solidFill>
                <a:schemeClr val="bg2">
                  <a:lumMod val="2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4341" name="Slide Number Placeholder 9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457950" y="6356350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fld id="{888606CE-BFA7-48D3-A13E-540743683E8C}" type="slidenum">
              <a:rPr lang="en-US" altLang="sr-Latn-RS" sz="1000" smtClean="0">
                <a:latin typeface="Lucida Sans Unicode" panose="020B0602030504020204" pitchFamily="34" charset="0"/>
              </a:rPr>
              <a:pPr/>
              <a:t>4</a:t>
            </a:fld>
            <a:endParaRPr lang="en-US" altLang="sr-Latn-RS" sz="1000" smtClean="0">
              <a:latin typeface="Lucida Sans Unicode" panose="020B0602030504020204" pitchFamily="34" charset="0"/>
            </a:endParaRPr>
          </a:p>
        </p:txBody>
      </p:sp>
      <p:sp>
        <p:nvSpPr>
          <p:cNvPr id="14342" name="Rectangle 7"/>
          <p:cNvSpPr>
            <a:spLocks noChangeArrowheads="1"/>
          </p:cNvSpPr>
          <p:nvPr/>
        </p:nvSpPr>
        <p:spPr bwMode="auto">
          <a:xfrm>
            <a:off x="457200" y="4876800"/>
            <a:ext cx="5105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SzPct val="120000"/>
              <a:buFontTx/>
              <a:buChar char="•"/>
            </a:pPr>
            <a:endParaRPr lang="sr-Latn-CS" altLang="sr-Latn-R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3" name="Rectangle 8"/>
          <p:cNvSpPr>
            <a:spLocks noChangeArrowheads="1"/>
          </p:cNvSpPr>
          <p:nvPr/>
        </p:nvSpPr>
        <p:spPr bwMode="auto">
          <a:xfrm>
            <a:off x="457200" y="5486400"/>
            <a:ext cx="5105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SzPct val="120000"/>
              <a:buFontTx/>
              <a:buChar char="•"/>
            </a:pPr>
            <a:endParaRPr lang="en-US" altLang="sr-Latn-R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344" name="Object 19"/>
          <p:cNvGraphicFramePr>
            <a:graphicFrameLocks noChangeAspect="1"/>
          </p:cNvGraphicFramePr>
          <p:nvPr/>
        </p:nvGraphicFramePr>
        <p:xfrm>
          <a:off x="7931150" y="134938"/>
          <a:ext cx="1022350" cy="901700"/>
        </p:xfrm>
        <a:graphic>
          <a:graphicData uri="http://schemas.openxmlformats.org/presentationml/2006/ole">
            <p:oleObj spid="_x0000_s105475" name="CorelDRAW" r:id="rId4" imgW="2898648" imgH="256032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3107" y="0"/>
            <a:ext cx="459089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64453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4542079" cy="6858000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4953000" y="1066800"/>
            <a:ext cx="3505200" cy="93503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ЦИЉЕВИ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4400" y="2133600"/>
            <a:ext cx="3886200" cy="3637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02060"/>
                </a:solidFill>
              </a:rPr>
              <a:t>Продужење радног века блокова за 100.000 радних часова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02060"/>
                </a:solidFill>
              </a:rPr>
              <a:t>Подизање расположивости, поузданости и безбедности рада</a:t>
            </a:r>
          </a:p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02060"/>
                </a:solidFill>
              </a:rPr>
              <a:t>Подизање енергетске ефикасности</a:t>
            </a:r>
          </a:p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02060"/>
                </a:solidFill>
              </a:rPr>
              <a:t>Подизање инсталисане снаге блокова</a:t>
            </a:r>
          </a:p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sr-Cyrl-RS" dirty="0" smtClean="0">
                <a:solidFill>
                  <a:srgbClr val="002060"/>
                </a:solidFill>
              </a:rPr>
              <a:t>Унапређење заштите животне средине</a:t>
            </a:r>
          </a:p>
        </p:txBody>
      </p:sp>
    </p:spTree>
    <p:extLst>
      <p:ext uri="{BB962C8B-B14F-4D97-AF65-F5344CB8AC3E}">
        <p14:creationId xmlns:p14="http://schemas.microsoft.com/office/powerpoint/2010/main" xmlns="" val="1490538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08520" y="188640"/>
            <a:ext cx="9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sz="2400" dirty="0" smtClean="0">
                <a:solidFill>
                  <a:srgbClr val="003296"/>
                </a:solidFill>
              </a:rPr>
              <a:t>Реализовани и пројекти у току у термосектору</a:t>
            </a:r>
            <a:endParaRPr lang="en-US" sz="2400" dirty="0">
              <a:solidFill>
                <a:srgbClr val="003296"/>
              </a:solidFill>
            </a:endParaRPr>
          </a:p>
        </p:txBody>
      </p:sp>
      <p:graphicFrame>
        <p:nvGraphicFramePr>
          <p:cNvPr id="5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9752862"/>
              </p:ext>
            </p:extLst>
          </p:nvPr>
        </p:nvGraphicFramePr>
        <p:xfrm>
          <a:off x="395537" y="1124744"/>
          <a:ext cx="8496943" cy="53400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54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388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731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29875">
                  <a:extLst>
                    <a:ext uri="{9D8B030D-6E8A-4147-A177-3AD203B41FA5}">
                      <a16:colId xmlns="" xmlns:a16="http://schemas.microsoft.com/office/drawing/2014/main" val="71332181"/>
                    </a:ext>
                  </a:extLst>
                </a:gridCol>
                <a:gridCol w="305352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3610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8808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ЕО 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ГРАНКА</a:t>
                      </a: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ОК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ЗИВ ПРОЈЕКТ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ЕРИОД РЕХАБИЛИТАЦИЈЕ,КАПИТАЛНОГ РЕМОНТА, РЕВИТАЛИЗАЦИЈ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АВЉЕНЕ  АКТИВНОСТ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КУПНО УЛОЖЕНА СРЕДСТВА (€)</a:t>
                      </a: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32206">
                <a:tc row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</a:t>
                      </a:r>
                      <a:r>
                        <a:rPr lang="en-US" sz="11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 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А</a:t>
                      </a:r>
                      <a:r>
                        <a:rPr lang="sr-Latn-RS" sz="10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l-PL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даптација блока ТЕНТ </a:t>
                      </a:r>
                      <a:r>
                        <a:rPr lang="pl-PL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1 </a:t>
                      </a:r>
                      <a:r>
                        <a:rPr lang="pl-PL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210 МW)</a:t>
                      </a: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6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а делова цевног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система 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тла и електрофилтера,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н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ви систем управљања и регулациј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.00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322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sr-Cyrl-RS" sz="10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lang="en-US" sz="10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НТ 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l-PL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нација и адаптација блока ТЕНТ </a:t>
                      </a:r>
                      <a:r>
                        <a:rPr lang="pl-PL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2 </a:t>
                      </a:r>
                      <a:r>
                        <a:rPr lang="pl-PL" sz="1000" b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210 МW)</a:t>
                      </a: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5.</a:t>
                      </a:r>
                      <a:endParaRPr lang="sr-Cyrl-RS" sz="1000" b="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а делова цевног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система 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тла и електрофилтера,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н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ви систем управљања и регулациј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.00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А3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l-PL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хабилитација блока ТЕНТ А3 </a:t>
                      </a:r>
                      <a:r>
                        <a:rPr lang="sr-Cyrl-RS" sz="1000" b="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pl-PL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305 МW)</a:t>
                      </a:r>
                      <a:endParaRPr lang="sr-Cyrl-RS" sz="1000" b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3.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а 60% делова цевног система котла, 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мена главних паровода,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хабилитација турбогенератора, замена цеви кондензатора,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хабилитација електрофилтера,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н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ви систем управљања и регулације, радови изведени у 8 лотова – котао, турбина, генератор, остала опрема, грађевински радови, систем управљања блоком, уградња </a:t>
                      </a:r>
                      <a:r>
                        <a:rPr lang="sr-Latn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NO</a:t>
                      </a:r>
                      <a:r>
                        <a:rPr lang="sr-Latn-RS" sz="1000" b="0" baseline="-25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r>
                        <a:rPr lang="sr-Latn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конструкција електрофилтера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0.00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807031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витализациј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ок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ТЕНТ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3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ећањем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наге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ок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305 МW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328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W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0/2011.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r-Cyrl-RS" sz="1000" b="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градња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ових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линова</a:t>
                      </a:r>
                      <a:endParaRPr lang="en-US" sz="1000" b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4/2015.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r-Cyrl-RS" sz="1000" b="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17602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000" b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4</a:t>
                      </a:r>
                      <a:endParaRPr lang="en-US" sz="1000" b="1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0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 блока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E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A4 (308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MW)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7.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7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 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лова цевног система котла, ретрофит турбоагрегата, замена цеви кондензатора</a:t>
                      </a:r>
                      <a:r>
                        <a:rPr lang="sr-Cyrl-RS" sz="1000" b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х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мијски третман</a:t>
                      </a:r>
                      <a:r>
                        <a:rPr lang="sr-Cyrl-RS" sz="1000" b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тла са продувавањем, з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ена електрофилтера, нови систем управљања и регулације, замена</a:t>
                      </a:r>
                      <a:r>
                        <a:rPr lang="sr-Cyrl-RS" sz="1000" b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енераторског прекидача, статора и ротора генератора , </a:t>
                      </a:r>
                      <a:r>
                        <a:rPr lang="en-US" sz="1000" b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OX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  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горионика угљеног праха новим млазним горионицима, уведен нови 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A 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здух у циљу смањења емисије </a:t>
                      </a:r>
                      <a:r>
                        <a:rPr lang="sr-Latn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</a:t>
                      </a:r>
                      <a:r>
                        <a:rPr lang="sr-Latn-RS" sz="1000" b="0" baseline="-25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реконструкција електрофилтера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.500.000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23925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 блока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E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en-U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4 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ећањем </a:t>
                      </a:r>
                      <a:r>
                        <a:rPr lang="sr-Cyrl-RS" sz="1000" b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сталисане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наге са 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08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MW 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332</a:t>
                      </a:r>
                      <a:r>
                        <a:rPr lang="sr-Cyrl-RS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pl-PL" sz="1000" b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MW</a:t>
                      </a:r>
                      <a:endParaRPr lang="ru-RU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/2011</a:t>
                      </a:r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sr-Cyrl-RS" sz="1000" b="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17602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градња нових млинова</a:t>
                      </a:r>
                      <a:endParaRPr lang="ru-RU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8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sr-Cyrl-RS" sz="1000" b="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067504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3000" y="260648"/>
            <a:ext cx="9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sz="2400" dirty="0" smtClean="0">
                <a:solidFill>
                  <a:srgbClr val="003296"/>
                </a:solidFill>
              </a:rPr>
              <a:t>Реализовани и пројекти у току у термосектору</a:t>
            </a:r>
            <a:endParaRPr lang="en-US" sz="2400" dirty="0">
              <a:solidFill>
                <a:srgbClr val="003296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43835633"/>
              </p:ext>
            </p:extLst>
          </p:nvPr>
        </p:nvGraphicFramePr>
        <p:xfrm>
          <a:off x="179512" y="760884"/>
          <a:ext cx="8353436" cy="60971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5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88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8083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8640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ЕО 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ГРАНКА</a:t>
                      </a: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ОК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ЗИВ ПРОЈЕКТ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ЕРИОД 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ХАБИЛИТАЦИЈ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,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ПИТАЛНОГ </a:t>
                      </a: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МОНТА, РЕВИТАЛИЗАЦИЈ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АВЉЕНЕ  АКТИВНОСТ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КУПНО УЛОЖЕНА СРЕДСТВА (€)</a:t>
                      </a:r>
                      <a:endParaRPr lang="en-US" sz="1000" b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4309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ТЕНТ  А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5</a:t>
                      </a: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хабилитација блока 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А5</a:t>
                      </a:r>
                      <a:endParaRPr lang="sr-Cyrl-R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4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sr-Cyrl-R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а 60% делова цевног система котла,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aseline="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трофит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турбогенератора, замена електрофилтера,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н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ви систем управљања и регулације</a:t>
                      </a:r>
                      <a:endParaRPr lang="sr-Cyrl-RS" sz="10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.000.000</a:t>
                      </a: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75811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хабилитација са повећањем снаге блока ТЕНТ А5 са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8 на 344,5 МW вредна 24 милиона €</a:t>
                      </a:r>
                      <a:endParaRPr lang="sr-Cyrl-RS" sz="10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0/2011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6024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градња нових млинов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r-Cyrl-RS" sz="1000" noProof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2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93787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</a:t>
                      </a:r>
                      <a:r>
                        <a:rPr lang="en-US" sz="10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6</a:t>
                      </a:r>
                      <a:endParaRPr lang="en-US" sz="1000" b="1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хабилитација са повећањем снаге блока ТЕНТ </a:t>
                      </a:r>
                      <a:r>
                        <a:rPr lang="pl-PL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6 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 </a:t>
                      </a:r>
                      <a:r>
                        <a:rPr lang="pl-PL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8,5 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pl-PL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348,5 MW</a:t>
                      </a:r>
                      <a:endParaRPr lang="pl-PL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8/2010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l" fontAlgn="t">
                        <a:buFont typeface="+mj-lt"/>
                        <a:buNone/>
                      </a:pP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делова цевног система котла и паровода, ретрофит турбоагрегата,</a:t>
                      </a:r>
                      <a:r>
                        <a:rPr lang="sr-Cyrl-RS" sz="10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ена цеви кондензатора, замена електрофилтера,</a:t>
                      </a:r>
                      <a:r>
                        <a:rPr lang="sr-Cyrl-RS" sz="10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</a:t>
                      </a:r>
                      <a:r>
                        <a:rPr lang="sr-Cyrl-RS" sz="10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ви систем управљања и регулације реконструкција</a:t>
                      </a:r>
                      <a:r>
                        <a:rPr lang="sr-Cyrl-RS" sz="10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лектрофилтера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t">
                        <a:buFont typeface="+mj-lt"/>
                        <a:buNone/>
                      </a:pPr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.000.000</a:t>
                      </a:r>
                      <a:endParaRPr lang="en-US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8152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Б</a:t>
                      </a: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НТ Б1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Latn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трофит блока Б1 – 1. </a:t>
                      </a:r>
                      <a:r>
                        <a:rPr lang="sr-Latn-RS" sz="10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ео</a:t>
                      </a:r>
                      <a:r>
                        <a:rPr lang="sr-Latn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Latn-RS" sz="10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а</a:t>
                      </a:r>
                      <a:r>
                        <a:rPr lang="sr-Latn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аровода и </a:t>
                      </a:r>
                      <a:r>
                        <a:rPr lang="sr-Latn-RS" sz="10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елова</a:t>
                      </a:r>
                      <a:r>
                        <a:rPr lang="sr-Latn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вног система котла</a:t>
                      </a:r>
                      <a:r>
                        <a:rPr lang="sr-Latn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.</a:t>
                      </a:r>
                      <a:r>
                        <a:rPr lang="pl-PL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фаза ревитализације блока ТЕНТ Б1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2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конструкција турбине ВП, замена делова цевног система котла,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конструкција млинова, нови систем транспорта пепела и шљаке, замена роторских лопатица ЦСП и ЦНП, уградња додатих пумпи за повећање протока  расхладне воде кроз кондензатор ТТНП, замена ДЦС,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урбинске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егулације и хидрауличког система регулације ТА,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дови на цевном систему котла са уградњом  додатног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КОа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реконструкција  електрофилтер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2.00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81520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altLang="sr-Latn-R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Т Б</a:t>
                      </a:r>
                      <a:r>
                        <a:rPr kumimoji="0" lang="sr-Latn-RS" altLang="sr-Latn-R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sr-Latn-R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трофит блока Б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паровода и делова 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K,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турбине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P, EF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за ревитализације блока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E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620 MW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kumimoji="0" lang="pl-PL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650 MW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Latn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8-2009,</a:t>
                      </a: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Latn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.</a:t>
                      </a:r>
                      <a:endParaRPr kumimoji="0" lang="en-US" altLang="sr-Latn-R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kumimoji="0" lang="en-US" altLang="sr-Latn-R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бољшање производних коефицијената, еколошко унапређење </a:t>
                      </a:r>
                      <a:r>
                        <a:rPr kumimoji="0" lang="sr-Latn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PM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радови на турбини – замена роторских лопатица </a:t>
                      </a: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P, CNP,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унутрашњег кућишта </a:t>
                      </a: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P,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бински регулатор</a:t>
                      </a: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ZVP6 BIS, ZNP1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набавка и монтажа новог генератора, радови на цевном систему</a:t>
                      </a: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градња додатног </a:t>
                      </a:r>
                      <a:r>
                        <a:rPr kumimoji="0" lang="en-US" altLang="sr-Latn-R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KOa</a:t>
                      </a: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дела цевног система котла, замена </a:t>
                      </a:r>
                      <a:r>
                        <a:rPr kumimoji="0" lang="en-U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C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.000.000</a:t>
                      </a:r>
                      <a:endParaRPr kumimoji="0" lang="en-US" altLang="sr-Latn-R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894183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3000" y="260648"/>
            <a:ext cx="9001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sz="2400" dirty="0" smtClean="0">
                <a:solidFill>
                  <a:srgbClr val="003296"/>
                </a:solidFill>
              </a:rPr>
              <a:t>Реализовани и пројекти у току у термосектору</a:t>
            </a:r>
            <a:endParaRPr lang="en-US" sz="2400" dirty="0">
              <a:solidFill>
                <a:srgbClr val="003296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66880448"/>
              </p:ext>
            </p:extLst>
          </p:nvPr>
        </p:nvGraphicFramePr>
        <p:xfrm>
          <a:off x="206007" y="980728"/>
          <a:ext cx="8874985" cy="56051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26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769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802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38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38452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2679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7709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ЕО 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ГРАНК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ЛОК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ЗИВ ПРОЈЕКТ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ЕРИОД 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ХАБИЛИТАЦИЈ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,</a:t>
                      </a: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ПИТАЛНОГ </a:t>
                      </a: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МОНТА, РЕВИТАЛИЗАЦИЈ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АВЉЕНЕ  АКТИВНОСТ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КУПНО УЛОЖЕНА СРЕДСТВА (€)</a:t>
                      </a:r>
                      <a:endParaRPr lang="en-US" sz="1000" b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3715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ТЕНТ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 Колубара</a:t>
                      </a:r>
                      <a:endParaRPr lang="en-US" sz="1000" b="1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l-PL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питални ремонт блока ТЕ Колубара А5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8/2012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конструкција електрофилтера, нови систем транспорта и одлагања пепела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.177.500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5658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 Морава</a:t>
                      </a:r>
                      <a:endParaRPr lang="en-US" sz="1000" b="1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l-PL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питални ремонт ТЕ Морава 115 МW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4.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ови систем управљања и регулације, замењена је комплетна турбина СП, уграђена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ајпас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станица ВП и НП и уграђен нови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урбински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егулатор,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монтован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отор турбине ВП и ротор генератора,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дови на цевном систему котла-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ембранизација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ложишта, замена ЕФ, система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тпепељивања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дшљакивања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и друго.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  <a:tabLst>
                          <a:tab pos="457200" algn="l"/>
                        </a:tabLst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9.000.000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7313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 блока ТЕ Морава са повећањем снаге са 115 на 125 МW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15/2016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3774">
                <a:tc row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-КО</a:t>
                      </a:r>
                      <a:r>
                        <a:rPr lang="sr-Cyrl-RS" sz="10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Костолац</a:t>
                      </a: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1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1</a:t>
                      </a:r>
                      <a:endParaRPr lang="en-US" sz="1000" b="1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</a:t>
                      </a:r>
                      <a:endParaRPr lang="pl-PL" sz="10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5-2007.</a:t>
                      </a:r>
                      <a:endParaRPr lang="en-US" sz="10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витализација,</a:t>
                      </a:r>
                      <a:r>
                        <a:rPr lang="sr-Cyrl-RS" sz="1000" baseline="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</a:t>
                      </a:r>
                    </a:p>
                    <a:p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ектрофилтера</a:t>
                      </a:r>
                      <a:endParaRPr lang="sr-Cyrl-RS" sz="1000" noProof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7.50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3363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altLang="sr-Latn-R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2</a:t>
                      </a:r>
                      <a:endParaRPr kumimoji="0" lang="en-US" altLang="sr-Latn-R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ни ремонт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6.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00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на </a:t>
                      </a:r>
                      <a:r>
                        <a:rPr lang="ru-RU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вног система ЕКО и горњих блокова ДРД-а на испаривачу котла, реконструкција електрофилтера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7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37520"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</a:t>
                      </a:r>
                      <a:r>
                        <a:rPr lang="ru-RU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онструкција електрофилтер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.</a:t>
                      </a:r>
                      <a:endParaRPr kumimoji="0" lang="en-US" altLang="sr-Latn-R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sr-Latn-R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008112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altLang="sr-Latn-R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1</a:t>
                      </a:r>
                      <a:endParaRPr kumimoji="0" lang="en-US" altLang="sr-Latn-R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ни ремонт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altLang="sr-Latn-R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.</a:t>
                      </a:r>
                      <a:endParaRPr kumimoji="0" lang="en-US" altLang="sr-Latn-R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ни ремонт турбогенератора, израда, испорука и уградња делова цевног система котла и паровода, смањење емисије азотних оксида на </a:t>
                      </a:r>
                      <a:r>
                        <a:rPr lang="sr-Cyrl-RS" sz="1000" b="0" noProof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тловском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стројењу примарним мерама, реконструкција млинова и реконструкција електрофилтер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endParaRPr lang="ru-RU" sz="10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.88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00302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altLang="sr-Latn-R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2</a:t>
                      </a:r>
                      <a:endParaRPr kumimoji="0" lang="en-US" altLang="sr-Latn-R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ни</a:t>
                      </a:r>
                      <a:r>
                        <a:rPr lang="sr-Cyrl-RS" sz="1000" b="0" baseline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 турбогенератора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нструкција млинова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аптација цевног система котла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000" b="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нструкција ЕФ на блоку Б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.</a:t>
                      </a:r>
                    </a:p>
                    <a:p>
                      <a:pPr algn="ctr"/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.</a:t>
                      </a:r>
                      <a:endParaRPr lang="sr-Latn-RS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ећање енергетске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фиксаности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остварењу веће производње електричне енергије, повећању поузданости рада блокова, продужењу животног века постројења и смањењу негативног утицаја на животну средину, смањен је </a:t>
                      </a:r>
                      <a:r>
                        <a:rPr lang="sr-Cyrl-RS" sz="1000" noProof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ефициент</a:t>
                      </a:r>
                      <a:r>
                        <a:rPr lang="sr-Cyrl-RS" sz="1000" noProof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спада блоков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457200" algn="l"/>
                        </a:tabLst>
                        <a:defRPr/>
                      </a:pPr>
                      <a:r>
                        <a:rPr lang="ru-RU" sz="1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.240.0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165758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7504" y="211783"/>
            <a:ext cx="90364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Cyrl-RS" sz="2400" dirty="0">
                <a:solidFill>
                  <a:schemeClr val="bg1"/>
                </a:solidFill>
              </a:rPr>
              <a:t>Реализовани пројекти </a:t>
            </a:r>
            <a:r>
              <a:rPr lang="sr-Cyrl-RS" sz="2400" dirty="0" smtClean="0">
                <a:solidFill>
                  <a:schemeClr val="bg1"/>
                </a:solidFill>
              </a:rPr>
              <a:t>и пројекти </a:t>
            </a:r>
            <a:r>
              <a:rPr lang="sr-Cyrl-RS" sz="2400" dirty="0">
                <a:solidFill>
                  <a:schemeClr val="bg1"/>
                </a:solidFill>
              </a:rPr>
              <a:t>у току </a:t>
            </a:r>
            <a:r>
              <a:rPr lang="sr-Cyrl-RS" sz="2400" dirty="0" smtClean="0">
                <a:solidFill>
                  <a:schemeClr val="bg1"/>
                </a:solidFill>
              </a:rPr>
              <a:t>у хидросектору</a:t>
            </a:r>
            <a:endParaRPr lang="en-US" sz="24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94814949"/>
              </p:ext>
            </p:extLst>
          </p:nvPr>
        </p:nvGraphicFramePr>
        <p:xfrm>
          <a:off x="323528" y="1484784"/>
          <a:ext cx="8568952" cy="27104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51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229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13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1689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7926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86191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АЈНЕ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НВЕСТИЦИЈЕ У ХИДРОЕЛЕКТРАНАМА ЕПС-а У ПОСЛЕДЊИХ ДЕСЕТ ГОДИНА</a:t>
                      </a:r>
                      <a:endParaRPr lang="ru-RU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0934">
                <a:tc>
                  <a:txBody>
                    <a:bodyPr/>
                    <a:lstStyle/>
                    <a:p>
                      <a:pPr algn="ctr" fontAlgn="t"/>
                      <a:r>
                        <a:rPr lang="sr-Cyrl-RS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. Бр.</a:t>
                      </a:r>
                      <a:endParaRPr lang="sr-Cyrl-RS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r-Cyrl-RS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ив пројекта</a:t>
                      </a:r>
                      <a:endParaRPr lang="sr-Cyrl-RS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r-Cyrl-RS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ина реализације</a:t>
                      </a:r>
                      <a:endParaRPr lang="sr-Cyrl-RS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r-Cyrl-RS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ијска средства</a:t>
                      </a:r>
                      <a:endParaRPr lang="sr-Cyrl-RS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r-Cyrl-RS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љ пројекта</a:t>
                      </a:r>
                      <a:endParaRPr lang="sr-Cyrl-RS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295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 ХЕ Ђердап </a:t>
                      </a:r>
                      <a:r>
                        <a:rPr lang="en-U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sr-Cyrl-RS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9. - 2021.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4.400.000 €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жен радни век ХЕ, повећана ефикасност и снага агрегата 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  1.057,8 </a:t>
                      </a:r>
                      <a:r>
                        <a:rPr lang="sr-Latn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 </a:t>
                      </a:r>
                      <a:r>
                        <a:rPr lang="sr-Cyrl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1.140 </a:t>
                      </a:r>
                      <a:r>
                        <a:rPr lang="sr-Latn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</a:t>
                      </a:r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смањен број непланских застоја, повећана поузданост ХЕ.</a:t>
                      </a:r>
                      <a:endParaRPr lang="ru-RU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0934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 ХЕ Бајина Башта</a:t>
                      </a:r>
                      <a:endParaRPr lang="ru-RU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. - 2013.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.000.000</a:t>
                      </a:r>
                      <a:r>
                        <a:rPr lang="sr-Cyrl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€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жен радни век ХЕ, повећана ефикасност и снага агрегата 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 368 </a:t>
                      </a:r>
                      <a:r>
                        <a:rPr lang="sr-Latn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 </a:t>
                      </a:r>
                      <a:r>
                        <a:rPr lang="sr-Cyrl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420 </a:t>
                      </a:r>
                      <a:r>
                        <a:rPr lang="sr-Latn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</a:t>
                      </a:r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смањен број непланских застоја, повећана поузданост ХЕ.</a:t>
                      </a:r>
                      <a:endParaRPr lang="ru-RU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956"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витализација ХЕ Зворник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. - 2019.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.000.000</a:t>
                      </a:r>
                      <a:r>
                        <a:rPr lang="sr-Cyrl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€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жен радни век ХЕ, повећана ефикасност агрегата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 96 </a:t>
                      </a:r>
                      <a:r>
                        <a:rPr lang="sr-Latn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 </a:t>
                      </a:r>
                      <a:r>
                        <a:rPr lang="sr-Cyrl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125,6 </a:t>
                      </a:r>
                      <a:r>
                        <a:rPr lang="sr-Latn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</a:t>
                      </a:r>
                      <a:r>
                        <a:rPr lang="sr-Cyrl-RS" sz="105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05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мањен број непланских застоја, повећана поузданост ХЕ.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24504"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нструкција МХЕ</a:t>
                      </a:r>
                      <a:endParaRPr lang="sr-Cyrl-RS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r>
                        <a:rPr lang="sr-Cyrl-RS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GB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sr-Cyrl-RS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000.000</a:t>
                      </a:r>
                      <a:r>
                        <a:rPr lang="sr-Cyrl-RS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5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жење радног века, повећање инсталисане снаге и изградња нових капацитета ОИЕ</a:t>
                      </a:r>
                      <a:endParaRPr lang="ru-RU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1838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sr-Cyrl-RS" sz="105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УПНО</a:t>
                      </a:r>
                      <a:endParaRPr lang="en-GB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5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6.400.000 </a:t>
                      </a:r>
                      <a:r>
                        <a:rPr lang="en-GB" sz="105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5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05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126" marR="5126" marT="5126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4703399"/>
            <a:ext cx="3218602" cy="21546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45323" y="4703400"/>
            <a:ext cx="3298678" cy="215790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18602" y="4703400"/>
            <a:ext cx="3025554" cy="215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90538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76</TotalTime>
  <Words>1507</Words>
  <Application>Microsoft Office PowerPoint</Application>
  <PresentationFormat>On-screen Show (4:3)</PresentationFormat>
  <Paragraphs>286</Paragraphs>
  <Slides>1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EPS Design</vt:lpstr>
      <vt:lpstr>1_EPS Design</vt:lpstr>
      <vt:lpstr>think-cell Slide</vt:lpstr>
      <vt:lpstr>CorelDRAW</vt:lpstr>
      <vt:lpstr>ПРОИЗВОДЊА  ЕНЕРГИЈЕ</vt:lpstr>
      <vt:lpstr>Производња енергије ЈП ЕПС</vt:lpstr>
      <vt:lpstr>Slide 3</vt:lpstr>
      <vt:lpstr>РАЗЛОЗИ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слов презентације</dc:title>
  <dc:creator>svetlanape</dc:creator>
  <cp:lastModifiedBy>MxL</cp:lastModifiedBy>
  <cp:revision>1108</cp:revision>
  <cp:lastPrinted>2019-10-22T09:22:31Z</cp:lastPrinted>
  <dcterms:created xsi:type="dcterms:W3CDTF">2012-06-18T11:37:59Z</dcterms:created>
  <dcterms:modified xsi:type="dcterms:W3CDTF">2019-10-27T09:2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cf6790a0-fd2c-4b65-9218-da98f7684149</vt:lpwstr>
  </property>
</Properties>
</file>